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4" r:id="rId4"/>
  </p:sldMasterIdLst>
  <p:notesMasterIdLst>
    <p:notesMasterId r:id="rId20"/>
  </p:notesMasterIdLst>
  <p:sldIdLst>
    <p:sldId id="432" r:id="rId5"/>
    <p:sldId id="431" r:id="rId6"/>
    <p:sldId id="2147472032" r:id="rId7"/>
    <p:sldId id="11761" r:id="rId8"/>
    <p:sldId id="2147472060" r:id="rId9"/>
    <p:sldId id="2147480050" r:id="rId10"/>
    <p:sldId id="2147472070" r:id="rId11"/>
    <p:sldId id="2147480045" r:id="rId12"/>
    <p:sldId id="2147480046" r:id="rId13"/>
    <p:sldId id="2147480043" r:id="rId14"/>
    <p:sldId id="2147480047" r:id="rId15"/>
    <p:sldId id="2147472103" r:id="rId16"/>
    <p:sldId id="2147472104" r:id="rId17"/>
    <p:sldId id="2147472054" r:id="rId18"/>
    <p:sldId id="947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8FB651A-F9A1-4150-9F94-21272980452D}">
          <p14:sldIdLst>
            <p14:sldId id="432"/>
            <p14:sldId id="431"/>
            <p14:sldId id="2147472032"/>
            <p14:sldId id="11761"/>
            <p14:sldId id="2147472060"/>
            <p14:sldId id="2147480050"/>
            <p14:sldId id="2147472070"/>
            <p14:sldId id="2147480045"/>
            <p14:sldId id="2147480046"/>
            <p14:sldId id="2147480043"/>
            <p14:sldId id="2147480047"/>
            <p14:sldId id="2147472103"/>
            <p14:sldId id="2147472104"/>
            <p14:sldId id="2147472054"/>
            <p14:sldId id="947"/>
          </p14:sldIdLst>
        </p14:section>
        <p14:section name="Backup" id="{35D55CA9-75E9-45ED-978F-8545D3C4603A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255950C-F19B-9AFC-5512-BEC603AF0F7B}" name="Lisa Boyle" initials="LB" userId="S::Boyle@jenavalve.com::92edec3d-d101-466e-838b-d7010cfa4c0b" providerId="AD"/>
  <p188:author id="{869A560F-47E0-1E58-1928-E0FA19A47396}" name="Pinto, Duane (HMFP - Cardiology)" initials="PD(C" userId="S::dpinto@bidmc.harvard.edu::4c14dc39-546f-40f6-b8e6-0b0c298efe3c" providerId="AD"/>
  <p188:author id="{15B7C551-5143-D404-D6EB-05BA9D5AA011}" name="Martin Fahy" initials="MF" userId="S::Fahy@jenavalve.com::21496afb-e466-4609-b901-8c846f0b3c2e" providerId="AD"/>
  <p188:author id="{FF8A185C-0EE2-E95B-7F4A-5E428798E618}" name="Duane Pinto, MD, MPH" initials="DP" userId="S::pinto@jenavalve.com::5e1a2418-ffa4-411e-8458-23f3bd9c698c" providerId="AD"/>
  <p188:author id="{60C87EF0-1ED8-ECA4-ECDD-2E5ABB992F90}" name="John Kilcoyne" initials="JK" userId="S::kilcoyne@jenavalve.com::e908a688-3ffd-4c0e-b133-48e271e1218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hl, Torsten P." initials="VTP" lastIdx="1" clrIdx="0">
    <p:extLst>
      <p:ext uri="{19B8F6BF-5375-455C-9EA6-DF929625EA0E}">
        <p15:presenceInfo xmlns:p15="http://schemas.microsoft.com/office/powerpoint/2012/main" userId="S::tv2193@cumc.columbia.edu::1878013c-d80d-4e61-bb38-883dc9dcec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9F32"/>
    <a:srgbClr val="CA9428"/>
    <a:srgbClr val="89898B"/>
    <a:srgbClr val="013C67"/>
    <a:srgbClr val="05BC58"/>
    <a:srgbClr val="4C8A4F"/>
    <a:srgbClr val="013D69"/>
    <a:srgbClr val="15374F"/>
    <a:srgbClr val="090D10"/>
    <a:srgbClr val="0941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86"/>
    <p:restoredTop sz="78941"/>
  </p:normalViewPr>
  <p:slideViewPr>
    <p:cSldViewPr snapToGrid="0">
      <p:cViewPr varScale="1">
        <p:scale>
          <a:sx n="114" d="100"/>
          <a:sy n="114" d="100"/>
        </p:scale>
        <p:origin x="165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714195292697958"/>
          <c:y val="0.17414930647316879"/>
          <c:w val="0.78207260088055919"/>
          <c:h val="0.6889515546216949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4</c:f>
              <c:numCache>
                <c:formatCode>0%</c:formatCode>
                <c:ptCount val="3"/>
                <c:pt idx="0">
                  <c:v>0.1</c:v>
                </c:pt>
                <c:pt idx="1">
                  <c:v>0.2</c:v>
                </c:pt>
                <c:pt idx="2">
                  <c:v>0.3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64B-4B1F-A590-E403FB68AB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67438592"/>
        <c:axId val="867431872"/>
      </c:lineChart>
      <c:catAx>
        <c:axId val="867438592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7431872"/>
        <c:crossesAt val="0.15000000000000002"/>
        <c:auto val="1"/>
        <c:lblAlgn val="ctr"/>
        <c:lblOffset val="100"/>
        <c:noMultiLvlLbl val="0"/>
      </c:catAx>
      <c:valAx>
        <c:axId val="867431872"/>
        <c:scaling>
          <c:orientation val="minMax"/>
          <c:max val="0.45"/>
          <c:min val="0.15000000000000002"/>
        </c:scaling>
        <c:delete val="1"/>
        <c:axPos val="l"/>
        <c:numFmt formatCode="0%" sourceLinked="0"/>
        <c:majorTickMark val="none"/>
        <c:minorTickMark val="none"/>
        <c:tickLblPos val="nextTo"/>
        <c:crossAx val="867438592"/>
        <c:crosses val="autoZero"/>
        <c:crossBetween val="between"/>
        <c:majorUnit val="5.000000000000001E-2"/>
        <c:dispUnits>
          <c:builtInUnit val="hundred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an Gradient (mmHg)</c:v>
                </c:pt>
              </c:strCache>
            </c:strRef>
          </c:tx>
          <c:spPr>
            <a:ln w="44450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>
                  <a:lumMod val="40000"/>
                  <a:lumOff val="60000"/>
                </a:schemeClr>
              </a:solidFill>
              <a:ln w="88900">
                <a:solidFill>
                  <a:srgbClr val="92D050"/>
                </a:solidFill>
              </a:ln>
              <a:effectLst/>
            </c:spPr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9AE-4B2C-8030-30C11E04637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Baseline (n=180)</c:v>
                </c:pt>
                <c:pt idx="1">
                  <c:v>30 Days (n=168)</c:v>
                </c:pt>
                <c:pt idx="2">
                  <c:v>6 Months (n=153)</c:v>
                </c:pt>
                <c:pt idx="3">
                  <c:v>1 Year (n=148)</c:v>
                </c:pt>
                <c:pt idx="4">
                  <c:v>2 Years (n=113)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.6999999999999993</c:v>
                </c:pt>
                <c:pt idx="1">
                  <c:v>3.9</c:v>
                </c:pt>
                <c:pt idx="2">
                  <c:v>4.3</c:v>
                </c:pt>
                <c:pt idx="3">
                  <c:v>4.2</c:v>
                </c:pt>
                <c:pt idx="4">
                  <c:v>4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9AE-4B2C-8030-30C11E0463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2379296"/>
        <c:axId val="123090160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EOA (cm  )</c:v>
                </c:pt>
              </c:strCache>
            </c:strRef>
          </c:tx>
          <c:spPr>
            <a:ln w="444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0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981E3E73-5492-450A-AA41-BCC931B64F82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A9AE-4B2C-8030-30C11E04637D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9AE-4B2C-8030-30C11E04637D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9AE-4B2C-8030-30C11E04637D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9AE-4B2C-8030-30C11E04637D}"/>
                </c:ext>
              </c:extLst>
            </c:dLbl>
            <c:dLbl>
              <c:idx val="4"/>
              <c:layout>
                <c:manualLayout>
                  <c:x val="-3.6513978504581011E-2"/>
                  <c:y val="-6.57485696266507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F4E-460C-BBCF-D371AD6FF4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Baseline (n=180)</c:v>
                </c:pt>
                <c:pt idx="1">
                  <c:v>30 Days (n=168)</c:v>
                </c:pt>
                <c:pt idx="2">
                  <c:v>6 Months (n=153)</c:v>
                </c:pt>
                <c:pt idx="3">
                  <c:v>1 Year (n=148)</c:v>
                </c:pt>
                <c:pt idx="4">
                  <c:v>2 Years (n=113)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.7</c:v>
                </c:pt>
                <c:pt idx="1">
                  <c:v>2.9</c:v>
                </c:pt>
                <c:pt idx="2">
                  <c:v>2.7</c:v>
                </c:pt>
                <c:pt idx="3">
                  <c:v>2.8</c:v>
                </c:pt>
                <c:pt idx="4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9AE-4B2C-8030-30C11E0463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80031455"/>
        <c:axId val="541783007"/>
      </c:lineChart>
      <c:catAx>
        <c:axId val="712379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090160"/>
        <c:crossesAt val="0"/>
        <c:auto val="1"/>
        <c:lblAlgn val="ctr"/>
        <c:lblOffset val="100"/>
        <c:noMultiLvlLbl val="0"/>
      </c:catAx>
      <c:valAx>
        <c:axId val="123090160"/>
        <c:scaling>
          <c:orientation val="minMax"/>
          <c:min val="2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2400"/>
                  <a:t>Mean Gradient (mm</a:t>
                </a:r>
                <a:r>
                  <a:rPr lang="en-US" sz="2400" baseline="0"/>
                  <a:t> Hg</a:t>
                </a:r>
                <a:r>
                  <a:rPr lang="en-US" sz="2400"/>
                  <a:t>)</a:t>
                </a:r>
              </a:p>
            </c:rich>
          </c:tx>
          <c:layout>
            <c:manualLayout>
              <c:xMode val="edge"/>
              <c:yMode val="edge"/>
              <c:x val="3.8356178418342316E-3"/>
              <c:y val="4.248798620740344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cross"/>
        <c:minorTickMark val="none"/>
        <c:tickLblPos val="nextTo"/>
        <c:spPr>
          <a:noFill/>
          <a:ln>
            <a:solidFill>
              <a:schemeClr val="tx1">
                <a:alpha val="93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12379296"/>
        <c:crosses val="autoZero"/>
        <c:crossBetween val="between"/>
        <c:majorUnit val="2"/>
      </c:valAx>
      <c:valAx>
        <c:axId val="541783007"/>
        <c:scaling>
          <c:orientation val="minMax"/>
          <c:max val="3"/>
          <c:min val="1.5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2400"/>
                  <a:t>EOA (cm</a:t>
                </a:r>
                <a:r>
                  <a:rPr lang="en-US" sz="2400" baseline="30000"/>
                  <a:t>2</a:t>
                </a:r>
                <a:r>
                  <a:rPr lang="en-US" sz="2400"/>
                  <a:t>)</a:t>
                </a:r>
              </a:p>
            </c:rich>
          </c:tx>
          <c:layout>
            <c:manualLayout>
              <c:xMode val="edge"/>
              <c:yMode val="edge"/>
              <c:x val="0.9592197032245493"/>
              <c:y val="0.235700514456264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2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cross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0031455"/>
        <c:crosses val="max"/>
        <c:crossBetween val="between"/>
        <c:majorUnit val="0.5"/>
      </c:valAx>
      <c:catAx>
        <c:axId val="9800314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541783007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238097836971616"/>
          <c:y val="0.91834414551616139"/>
          <c:w val="0.65266404273036882"/>
          <c:h val="8.16558544838386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266605187865029"/>
          <c:y val="8.5760404723777758E-2"/>
          <c:w val="0.85228890307630467"/>
          <c:h val="0.824200083067233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ne/Trace</c:v>
                </c:pt>
              </c:strCache>
            </c:strRef>
          </c:tx>
          <c:spPr>
            <a:solidFill>
              <a:srgbClr val="0070C0"/>
            </a:solidFill>
            <a:ln>
              <a:solidFill>
                <a:schemeClr val="tx1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30 Days (n=167)</c:v>
                </c:pt>
                <c:pt idx="1">
                  <c:v>6 Months (n=153)</c:v>
                </c:pt>
                <c:pt idx="2">
                  <c:v>1 Year (n=147)</c:v>
                </c:pt>
                <c:pt idx="3">
                  <c:v>2 Years (n=113)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0.83299999999999996</c:v>
                </c:pt>
                <c:pt idx="1">
                  <c:v>0.94199999999999995</c:v>
                </c:pt>
                <c:pt idx="2">
                  <c:v>0.91800000000000004</c:v>
                </c:pt>
                <c:pt idx="3">
                  <c:v>0.955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61-404F-8BBA-2AE0F5C66E3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ild</c:v>
                </c:pt>
              </c:strCache>
            </c:strRef>
          </c:tx>
          <c:spPr>
            <a:solidFill>
              <a:srgbClr val="669900"/>
            </a:solidFill>
            <a:ln>
              <a:solidFill>
                <a:schemeClr val="tx1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30 Days (n=167)</c:v>
                </c:pt>
                <c:pt idx="1">
                  <c:v>6 Months (n=153)</c:v>
                </c:pt>
                <c:pt idx="2">
                  <c:v>1 Year (n=147)</c:v>
                </c:pt>
                <c:pt idx="3">
                  <c:v>2 Years (n=113)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16200000000000001</c:v>
                </c:pt>
                <c:pt idx="1">
                  <c:v>5.1999999999999998E-2</c:v>
                </c:pt>
                <c:pt idx="2">
                  <c:v>8.2000000000000003E-2</c:v>
                </c:pt>
                <c:pt idx="3">
                  <c:v>4.39999999999999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61-404F-8BBA-2AE0F5C66E3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derate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tx1"/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1.2512512512512512E-3"/>
                  <c:y val="-5.40667932622295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BB9-4CE8-AFC5-7ED5F5CDC492}"/>
                </c:ext>
              </c:extLst>
            </c:dLbl>
            <c:dLbl>
              <c:idx val="1"/>
              <c:layout>
                <c:manualLayout>
                  <c:x val="1.2512512512512053E-3"/>
                  <c:y val="-5.3859996724375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BB9-4CE8-AFC5-7ED5F5CDC492}"/>
                </c:ext>
              </c:extLst>
            </c:dLbl>
            <c:dLbl>
              <c:idx val="2"/>
              <c:layout>
                <c:manualLayout>
                  <c:x val="3.7537537537537537E-3"/>
                  <c:y val="-4.87304732268156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BB9-4CE8-AFC5-7ED5F5CDC492}"/>
                </c:ext>
              </c:extLst>
            </c:dLbl>
            <c:dLbl>
              <c:idx val="3"/>
              <c:layout>
                <c:manualLayout>
                  <c:x val="0"/>
                  <c:y val="-5.12952349755953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088-4BC4-A881-3E62263DA0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30 Days (n=167)</c:v>
                </c:pt>
                <c:pt idx="1">
                  <c:v>6 Months (n=153)</c:v>
                </c:pt>
                <c:pt idx="2">
                  <c:v>1 Year (n=147)</c:v>
                </c:pt>
                <c:pt idx="3">
                  <c:v>2 Years (n=113)</c:v>
                </c:pt>
              </c:strCache>
            </c:strRef>
          </c:cat>
          <c:val>
            <c:numRef>
              <c:f>Sheet1!$D$2:$D$5</c:f>
              <c:numCache>
                <c:formatCode>0.0%</c:formatCode>
                <c:ptCount val="4"/>
                <c:pt idx="0">
                  <c:v>6.0000000000000001E-3</c:v>
                </c:pt>
                <c:pt idx="1">
                  <c:v>7.0000000000000001E-3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361-404F-8BBA-2AE0F5C66E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100"/>
        <c:axId val="891193936"/>
        <c:axId val="891183856"/>
      </c:barChart>
      <c:catAx>
        <c:axId val="8911939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1183856"/>
        <c:crosses val="autoZero"/>
        <c:auto val="1"/>
        <c:lblAlgn val="ctr"/>
        <c:lblOffset val="100"/>
        <c:noMultiLvlLbl val="0"/>
      </c:catAx>
      <c:valAx>
        <c:axId val="891183856"/>
        <c:scaling>
          <c:orientation val="minMax"/>
          <c:max val="1"/>
        </c:scaling>
        <c:delete val="0"/>
        <c:axPos val="l"/>
        <c:numFmt formatCode="0%" sourceLinked="0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91193936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31656656656656657"/>
          <c:y val="0.71561711374525838"/>
          <c:w val="0.41340365956507691"/>
          <c:h val="0.11710940238968325"/>
        </c:manualLayout>
      </c:layout>
      <c:overlay val="0"/>
      <c:spPr>
        <a:solidFill>
          <a:schemeClr val="tx1">
            <a:lumMod val="50000"/>
          </a:schemeClr>
        </a:solidFill>
        <a:ln>
          <a:solidFill>
            <a:srgbClr val="002060"/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046224056489272E-2"/>
          <c:y val="0.19268130957314544"/>
          <c:w val="0.90295377594351078"/>
          <c:h val="0.62263741852842569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ass I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8C0-4D16-BA18-099B06FC9612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Baseline (n=180)</c:v>
                </c:pt>
                <c:pt idx="1">
                  <c:v>30 Days (n=170)</c:v>
                </c:pt>
                <c:pt idx="2">
                  <c:v>1 Year (n=148)</c:v>
                </c:pt>
                <c:pt idx="3">
                  <c:v>2 Years (n=116)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 formatCode="0%">
                  <c:v>0</c:v>
                </c:pt>
                <c:pt idx="1">
                  <c:v>0.53500000000000003</c:v>
                </c:pt>
                <c:pt idx="2">
                  <c:v>0.59499999999999997</c:v>
                </c:pt>
                <c:pt idx="3">
                  <c:v>0.594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C0-4D16-BA18-099B06FC961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lass II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Baseline (n=180)</c:v>
                </c:pt>
                <c:pt idx="1">
                  <c:v>30 Days (n=170)</c:v>
                </c:pt>
                <c:pt idx="2">
                  <c:v>1 Year (n=148)</c:v>
                </c:pt>
                <c:pt idx="3">
                  <c:v>2 Years (n=116)</c:v>
                </c:pt>
              </c:strCache>
            </c:strRef>
          </c:cat>
          <c:val>
            <c:numRef>
              <c:f>Sheet1!$C$2:$C$5</c:f>
              <c:numCache>
                <c:formatCode>0.00%</c:formatCode>
                <c:ptCount val="4"/>
                <c:pt idx="0">
                  <c:v>0.32200000000000001</c:v>
                </c:pt>
                <c:pt idx="1">
                  <c:v>0.36499999999999999</c:v>
                </c:pt>
                <c:pt idx="2">
                  <c:v>0.32400000000000001</c:v>
                </c:pt>
                <c:pt idx="3">
                  <c:v>0.30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C0-4D16-BA18-099B06FC961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lass III</c:v>
                </c:pt>
              </c:strCache>
            </c:strRef>
          </c:tx>
          <c:spPr>
            <a:solidFill>
              <a:srgbClr val="FF990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Baseline (n=180)</c:v>
                </c:pt>
                <c:pt idx="1">
                  <c:v>30 Days (n=170)</c:v>
                </c:pt>
                <c:pt idx="2">
                  <c:v>1 Year (n=148)</c:v>
                </c:pt>
                <c:pt idx="3">
                  <c:v>2 Years (n=116)</c:v>
                </c:pt>
              </c:strCache>
            </c:strRef>
          </c:cat>
          <c:val>
            <c:numRef>
              <c:f>Sheet1!$D$2:$D$5</c:f>
              <c:numCache>
                <c:formatCode>0.00%</c:formatCode>
                <c:ptCount val="4"/>
                <c:pt idx="0">
                  <c:v>0.628</c:v>
                </c:pt>
                <c:pt idx="1">
                  <c:v>0.1</c:v>
                </c:pt>
                <c:pt idx="2">
                  <c:v>8.1000000000000003E-2</c:v>
                </c:pt>
                <c:pt idx="3">
                  <c:v>0.10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8C0-4D16-BA18-099B06FC961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lass IV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2.1598953522198325E-3"/>
                  <c:y val="-8.1996460333893725E-3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D05-4FE5-A69D-79ADE381EFB8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8C0-4D16-BA18-099B06FC9612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8C0-4D16-BA18-099B06FC9612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635-40B9-B5D0-A72CB7B5B1AE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Baseline (n=180)</c:v>
                </c:pt>
                <c:pt idx="1">
                  <c:v>30 Days (n=170)</c:v>
                </c:pt>
                <c:pt idx="2">
                  <c:v>1 Year (n=148)</c:v>
                </c:pt>
                <c:pt idx="3">
                  <c:v>2 Years (n=116)</c:v>
                </c:pt>
              </c:strCache>
            </c:strRef>
          </c:cat>
          <c:val>
            <c:numRef>
              <c:f>Sheet1!$E$2:$E$5</c:f>
              <c:numCache>
                <c:formatCode>0%</c:formatCode>
                <c:ptCount val="4"/>
                <c:pt idx="0" formatCode="0.00%">
                  <c:v>0.05</c:v>
                </c:pt>
                <c:pt idx="1">
                  <c:v>0</c:v>
                </c:pt>
                <c:pt idx="2">
                  <c:v>0</c:v>
                </c:pt>
                <c:pt idx="3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58C0-4D16-BA18-099B06FC96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9"/>
        <c:overlap val="100"/>
        <c:axId val="1812111391"/>
        <c:axId val="1812109951"/>
      </c:barChart>
      <c:catAx>
        <c:axId val="18121113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2109951"/>
        <c:crosses val="autoZero"/>
        <c:auto val="1"/>
        <c:lblAlgn val="ctr"/>
        <c:lblOffset val="100"/>
        <c:noMultiLvlLbl val="0"/>
      </c:catAx>
      <c:valAx>
        <c:axId val="1812109951"/>
        <c:scaling>
          <c:orientation val="minMax"/>
        </c:scaling>
        <c:delete val="0"/>
        <c:axPos val="l"/>
        <c:numFmt formatCode="0%" sourceLinked="1"/>
        <c:majorTickMark val="in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12111391"/>
        <c:crosses val="autoZero"/>
        <c:crossBetween val="between"/>
        <c:majorUnit val="0.2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26828451332072939"/>
          <c:y val="0.9024087459513882"/>
          <c:w val="0.55198659776430425"/>
          <c:h val="6.542398424563636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 b="1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3DAC8C-4AFB-48BC-B669-F0A0380FB6BD}" type="datetimeFigureOut">
              <a:rPr lang="en-US" smtClean="0"/>
              <a:t>10/28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466064-A3F5-4398-8623-F4B48B0619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094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39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742A8D0-09EC-42FB-90C5-B1D1E1AB5C3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/>
                <a:cs typeface="ヒラギノ角ゴ Pro W3"/>
              </a:rPr>
              <a:pPr marL="0" marR="0" lvl="0" indent="0" algn="r" defTabSz="9398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/>
              <a:cs typeface="ヒラギノ角ゴ Pro W3"/>
            </a:endParaRPr>
          </a:p>
        </p:txBody>
      </p:sp>
      <p:sp>
        <p:nvSpPr>
          <p:cNvPr id="13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9100" y="703263"/>
            <a:ext cx="6248400" cy="3516312"/>
          </a:xfrm>
          <a:ln/>
        </p:spPr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689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33827AA-FA7C-2E23-9DD0-45C6A2EF3C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73B6874-577B-5C6D-E4D7-46E22CD6C23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00B36A-36FA-ECBB-4B51-CB868E236A6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A5A11A-D1F4-934E-9479-AC2F570E17F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2433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43D6C3-9A9D-4941-D8FC-4A16618570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24D019-4A47-B1D9-CCBF-9B12271E4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2D8463E-6F9E-22CF-B9BD-B13CE967708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03026B-447B-DDD6-762C-5F388B5FC04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83699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F1950B-E9B6-7BDF-4F4C-944BE453FF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4500117-48BC-1695-9DE3-5B9AAC7C729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CDE3B83-2BB2-3B49-0893-A66AD9710B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D4F063-F00A-6548-B20E-FF60D1F183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5619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8DF057-1E22-9BD7-9D42-D6AD4B24163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85AE9B5-2E3B-C4DE-ADDA-151B11899B8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621709B-D881-8F62-5B4F-8AF1481B5C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E0FE3C-451B-8D71-D197-8F4F0176B5D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07668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954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05F72E-1086-4CFD-8818-E0AB896BF1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03962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86593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413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431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7186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3133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7431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7370EA-8309-D074-3669-81BB692126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7DD6F4-D22D-4983-0B56-94AFEA41EB0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CCB3461-C730-8358-A2F9-00824C5207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9F391E-6190-E03F-222D-D4D4169520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5053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3C1EA1-D43B-51F0-FC08-7AD21D280F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D825C6B-C903-DDFF-321E-279F6412E2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4303C2-27C9-E667-342C-993D402D211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B99712-1522-9545-C5B6-68E79A7479E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66064-A3F5-4398-8623-F4B48B06199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693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2"/>
          <p:cNvSpPr>
            <a:spLocks noChangeArrowheads="1"/>
          </p:cNvSpPr>
          <p:nvPr/>
        </p:nvSpPr>
        <p:spPr bwMode="auto">
          <a:xfrm>
            <a:off x="749300" y="3946526"/>
            <a:ext cx="10913533" cy="946151"/>
          </a:xfrm>
          <a:prstGeom prst="rect">
            <a:avLst/>
          </a:prstGeom>
          <a:noFill/>
          <a:ln>
            <a:noFill/>
          </a:ln>
          <a:effectLst>
            <a:outerShdw dist="45791" dir="8778596" algn="ctr" rotWithShape="0">
              <a:schemeClr val="bg2"/>
            </a:outerShdw>
          </a:effectLst>
        </p:spPr>
        <p:txBody>
          <a:bodyPr anchor="ctr" anchorCtr="1"/>
          <a:lstStyle/>
          <a:p>
            <a:pPr algn="ctr">
              <a:lnSpc>
                <a:spcPct val="95000"/>
              </a:lnSpc>
              <a:buClr>
                <a:schemeClr val="tx2"/>
              </a:buClr>
              <a:defRPr/>
            </a:pPr>
            <a:endParaRPr lang="en-US" sz="2600">
              <a:solidFill>
                <a:srgbClr val="DDDDDD"/>
              </a:solidFill>
              <a:ea typeface="ヒラギノ角ゴ Pro W3" pitchFamily="-111" charset="-128"/>
              <a:cs typeface="+mn-cs"/>
            </a:endParaRPr>
          </a:p>
          <a:p>
            <a:pPr algn="ctr">
              <a:lnSpc>
                <a:spcPct val="95000"/>
              </a:lnSpc>
              <a:buClr>
                <a:schemeClr val="tx2"/>
              </a:buClr>
              <a:defRPr/>
            </a:pPr>
            <a:endParaRPr lang="en-US" sz="2600">
              <a:solidFill>
                <a:srgbClr val="DDDDDD"/>
              </a:solidFill>
              <a:ea typeface="ヒラギノ角ゴ Pro W3" pitchFamily="-111" charset="-128"/>
              <a:cs typeface="+mn-cs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056219" y="1424186"/>
            <a:ext cx="10119783" cy="615553"/>
          </a:xfrm>
        </p:spPr>
        <p:txBody>
          <a:bodyPr lIns="0" rIns="0" anchor="ctr">
            <a:spAutoFit/>
          </a:bodyPr>
          <a:lstStyle>
            <a:lvl1pPr>
              <a:lnSpc>
                <a:spcPct val="85000"/>
              </a:lnSpc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09600" y="3224213"/>
            <a:ext cx="10913533" cy="889000"/>
          </a:xfrm>
        </p:spPr>
        <p:txBody>
          <a:bodyPr anchorCtr="1"/>
          <a:lstStyle>
            <a:lvl1pPr marL="0" indent="0" algn="ctr">
              <a:buSzTx/>
              <a:buFontTx/>
              <a:buNone/>
              <a:defRPr sz="3333" i="1" baseline="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29393091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5" y="244100"/>
            <a:ext cx="11522075" cy="432000"/>
          </a:xfrm>
        </p:spPr>
        <p:txBody>
          <a:bodyPr/>
          <a:lstStyle>
            <a:lvl1pPr>
              <a:defRPr cap="sm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cap="small">
                <a:solidFill>
                  <a:schemeClr val="bg1"/>
                </a:solidFill>
              </a:defRPr>
            </a:lvl1pPr>
            <a:lvl2pPr>
              <a:defRPr cap="small">
                <a:solidFill>
                  <a:schemeClr val="bg1"/>
                </a:solidFill>
              </a:defRPr>
            </a:lvl2pPr>
            <a:lvl3pPr>
              <a:defRPr cap="small">
                <a:solidFill>
                  <a:schemeClr val="bg1"/>
                </a:solidFill>
              </a:defRPr>
            </a:lvl3pPr>
            <a:lvl4pPr>
              <a:defRPr cap="small">
                <a:solidFill>
                  <a:schemeClr val="bg1"/>
                </a:solidFill>
              </a:defRPr>
            </a:lvl4pPr>
            <a:lvl5pPr>
              <a:defRPr cap="small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5" y="712100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 cap="sm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324067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4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buClr>
                <a:schemeClr val="tx2">
                  <a:lumMod val="50000"/>
                </a:schemeClr>
              </a:buClr>
              <a:defRPr>
                <a:solidFill>
                  <a:schemeClr val="tx2">
                    <a:lumMod val="50000"/>
                  </a:schemeClr>
                </a:solidFill>
              </a:defRPr>
            </a:lvl1pPr>
            <a:lvl2pPr>
              <a:buClr>
                <a:schemeClr val="tx2">
                  <a:lumMod val="50000"/>
                </a:schemeClr>
              </a:buClr>
              <a:defRPr>
                <a:solidFill>
                  <a:schemeClr val="tx2">
                    <a:lumMod val="50000"/>
                  </a:schemeClr>
                </a:solidFill>
              </a:defRPr>
            </a:lvl2pPr>
            <a:lvl3pPr>
              <a:buClr>
                <a:schemeClr val="tx2">
                  <a:lumMod val="50000"/>
                </a:schemeClr>
              </a:buClr>
              <a:defRPr>
                <a:solidFill>
                  <a:schemeClr val="tx2">
                    <a:lumMod val="50000"/>
                  </a:schemeClr>
                </a:solidFill>
              </a:defRPr>
            </a:lvl3pPr>
            <a:lvl4pPr>
              <a:buClr>
                <a:schemeClr val="tx2">
                  <a:lumMod val="50000"/>
                </a:schemeClr>
              </a:buCl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buClr>
                <a:schemeClr val="tx2">
                  <a:lumMod val="50000"/>
                </a:schemeClr>
              </a:buClr>
              <a:defRPr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CEDC83-A963-48F9-9FA1-0CBC7C2824F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754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3"/>
          <a:ext cx="195385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3"/>
                        <a:ext cx="195385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 bwMode="blackWhite">
          <a:xfrm>
            <a:off x="288216" y="990603"/>
            <a:ext cx="11582398" cy="5181599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1600" dirty="0" smtClean="0">
                <a:latin typeface="Helvetica" pitchFamily="2" charset="0"/>
              </a:defRPr>
            </a:lvl1pPr>
            <a:lvl2pPr>
              <a:defRPr lang="de-DE" sz="1600" dirty="0" smtClean="0">
                <a:latin typeface="Helvetica" pitchFamily="2" charset="0"/>
              </a:defRPr>
            </a:lvl2pPr>
            <a:lvl3pPr marL="346066" indent="-166684">
              <a:tabLst/>
              <a:defRPr lang="de-DE" sz="1600" dirty="0" smtClean="0">
                <a:latin typeface="Helvetica" pitchFamily="2" charset="0"/>
              </a:defRPr>
            </a:lvl3pPr>
            <a:lvl4pPr>
              <a:defRPr lang="de-DE" sz="1600" dirty="0" smtClean="0">
                <a:latin typeface="Helvetica" pitchFamily="2" charset="0"/>
              </a:defRPr>
            </a:lvl4pPr>
            <a:lvl5pPr>
              <a:defRPr lang="de-DE" dirty="0">
                <a:latin typeface="Helvetica" pitchFamily="2" charset="0"/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A6E38067-7B57-EC44-8998-887873B74E37}"/>
              </a:ext>
            </a:extLst>
          </p:cNvPr>
          <p:cNvSpPr>
            <a:spLocks noGrp="1" noChangeArrowheads="1"/>
          </p:cNvSpPr>
          <p:nvPr>
            <p:ph type="title" hasCustomPrompt="1"/>
            <p:custDataLst>
              <p:tags r:id="rId3"/>
            </p:custDataLst>
          </p:nvPr>
        </p:nvSpPr>
        <p:spPr bwMode="gray">
          <a:xfrm>
            <a:off x="284480" y="213131"/>
            <a:ext cx="11582400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sz="2000"/>
            </a:lvl1pPr>
          </a:lstStyle>
          <a:p>
            <a:pPr lvl="0"/>
            <a:r>
              <a:rPr lang="en-US"/>
              <a:t>Insert Header</a:t>
            </a:r>
          </a:p>
        </p:txBody>
      </p:sp>
    </p:spTree>
    <p:extLst>
      <p:ext uri="{BB962C8B-B14F-4D97-AF65-F5344CB8AC3E}">
        <p14:creationId xmlns:p14="http://schemas.microsoft.com/office/powerpoint/2010/main" val="2791108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342891" indent="-342891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742932" indent="-28574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1142971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1600160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057349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0056CEE-02A0-4F56-B38B-CA835E52CB13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2133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mple Slides -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5">
            <a:extLst>
              <a:ext uri="{FF2B5EF4-FFF2-40B4-BE49-F238E27FC236}">
                <a16:creationId xmlns:a16="http://schemas.microsoft.com/office/drawing/2014/main" id="{A3C74541-2F53-BC4D-9BF3-C1CB21FA7F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9600" y="2367646"/>
            <a:ext cx="3352800" cy="3837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EBADAA66-12FF-0746-926F-00A6FE95F6F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26400" y="2367645"/>
            <a:ext cx="3352800" cy="38372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C4234335-B09F-AF4E-9919-B444534921B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18000" y="2367645"/>
            <a:ext cx="3352800" cy="38372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313CB9E-4A2B-324B-998A-9C07B48BD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1" y="1597141"/>
            <a:ext cx="10769600" cy="5255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 i="0" spc="0">
                <a:solidFill>
                  <a:schemeClr val="tx1"/>
                </a:solidFill>
                <a:latin typeface="Lub Dub Medium" panose="020B0603030403020204" pitchFamily="34" charset="77"/>
              </a:defRPr>
            </a:lvl1pPr>
            <a:lvl2pPr marL="457189" indent="0" algn="ctr">
              <a:buNone/>
              <a:defRPr sz="2000"/>
            </a:lvl2pPr>
            <a:lvl3pPr marL="914376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7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578E395-9737-174F-8296-9A1B277CF7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1" y="979719"/>
            <a:ext cx="10769600" cy="699068"/>
          </a:xfrm>
          <a:prstGeom prst="rect">
            <a:avLst/>
          </a:prstGeom>
        </p:spPr>
        <p:txBody>
          <a:bodyPr anchor="b"/>
          <a:lstStyle>
            <a:lvl1pPr algn="l">
              <a:defRPr sz="3600" b="1" i="0" spc="0">
                <a:solidFill>
                  <a:srgbClr val="C10E21"/>
                </a:solidFill>
                <a:latin typeface="Lub Dub Heavy" panose="020B0603030403020204" pitchFamily="34" charset="77"/>
              </a:defRPr>
            </a:lvl1pPr>
          </a:lstStyle>
          <a:p>
            <a:r>
              <a:rPr lang="en-US"/>
              <a:t>Content Slid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E79B7DC-3943-C746-A507-0D88E5900500}"/>
              </a:ext>
            </a:extLst>
          </p:cNvPr>
          <p:cNvSpPr/>
          <p:nvPr userDrawn="1"/>
        </p:nvSpPr>
        <p:spPr>
          <a:xfrm>
            <a:off x="11662677" y="6423176"/>
            <a:ext cx="310259" cy="249315"/>
          </a:xfrm>
          <a:prstGeom prst="ellipse">
            <a:avLst/>
          </a:prstGeom>
          <a:noFill/>
          <a:ln w="25400" cap="rnd">
            <a:solidFill>
              <a:srgbClr val="8A8B8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413B4ED0-49E0-9B47-AF0B-EE6E5A012D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2" y="6368143"/>
            <a:ext cx="470807" cy="359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0" i="0">
                <a:solidFill>
                  <a:srgbClr val="8A8B8A"/>
                </a:solidFill>
                <a:latin typeface="Lub Dub Medium" panose="020B0603030403020204" pitchFamily="34" charset="77"/>
              </a:defRPr>
            </a:lvl1pPr>
          </a:lstStyle>
          <a:p>
            <a:fld id="{01CD3B2E-BC1C-6C4D-9D91-A67B950EE3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5210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re vertical et tex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contenu 2">
            <a:extLst>
              <a:ext uri="{FF2B5EF4-FFF2-40B4-BE49-F238E27FC236}">
                <a16:creationId xmlns:a16="http://schemas.microsoft.com/office/drawing/2014/main" id="{E0D26111-C97B-A048-B3E8-668F3DCCE8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228" y="1062045"/>
            <a:ext cx="11657280" cy="506424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itre 1">
            <a:extLst>
              <a:ext uri="{FF2B5EF4-FFF2-40B4-BE49-F238E27FC236}">
                <a16:creationId xmlns:a16="http://schemas.microsoft.com/office/drawing/2014/main" id="{41ED1B19-CD3A-0748-AFB8-917B13016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228" y="133606"/>
            <a:ext cx="11657280" cy="61751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>
              <a:defRPr sz="28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4955007-4DFF-C744-9B86-C8F2ACEE5C1E}"/>
              </a:ext>
            </a:extLst>
          </p:cNvPr>
          <p:cNvSpPr txBox="1"/>
          <p:nvPr userDrawn="1"/>
        </p:nvSpPr>
        <p:spPr>
          <a:xfrm>
            <a:off x="4896187" y="6426273"/>
            <a:ext cx="25426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0" i="0" err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CRLondonValves.com</a:t>
            </a:r>
            <a:endParaRPr lang="en-US" sz="1400" b="0" i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" name="Image 1" descr="Une image contenant texte, clipart&#10;&#10;Description générée automatiquement">
            <a:extLst>
              <a:ext uri="{FF2B5EF4-FFF2-40B4-BE49-F238E27FC236}">
                <a16:creationId xmlns:a16="http://schemas.microsoft.com/office/drawing/2014/main" id="{8030D2AE-5CE7-357A-BA69-B000D41EDE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32230" y="6341776"/>
            <a:ext cx="1282895" cy="468245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E1EA440F-2F20-12FD-1EE8-92E04753E80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86588" y="6376660"/>
            <a:ext cx="1102920" cy="39847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FC6BC8D-DDB3-400C-A809-918C06E8B3D4}"/>
              </a:ext>
            </a:extLst>
          </p:cNvPr>
          <p:cNvSpPr/>
          <p:nvPr userDrawn="1"/>
        </p:nvSpPr>
        <p:spPr>
          <a:xfrm>
            <a:off x="0" y="-159025"/>
            <a:ext cx="12284765" cy="13384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EB819F-1801-4905-8C1D-9AE4977C6C96}"/>
              </a:ext>
            </a:extLst>
          </p:cNvPr>
          <p:cNvSpPr/>
          <p:nvPr userDrawn="1"/>
        </p:nvSpPr>
        <p:spPr>
          <a:xfrm>
            <a:off x="0" y="5582242"/>
            <a:ext cx="12284765" cy="13384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2366199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342891" indent="-342891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742932" indent="-28574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1142971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1600160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2057349" indent="-228594">
              <a:buClr>
                <a:schemeClr val="tx1"/>
              </a:buClr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37968301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5" name="Medienplatzhalter 6">
            <a:extLst>
              <a:ext uri="{FF2B5EF4-FFF2-40B4-BE49-F238E27FC236}">
                <a16:creationId xmlns:a16="http://schemas.microsoft.com/office/drawing/2014/main" id="{BFC26D0F-EF9F-4F1F-A65E-8D7D3924DF54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334964" y="1341437"/>
            <a:ext cx="11522075" cy="4751387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38042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341438"/>
            <a:ext cx="5689599" cy="4751387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597352"/>
            <a:ext cx="720000" cy="144000"/>
          </a:xfrm>
          <a:prstGeom prst="rect">
            <a:avLst/>
          </a:prstGeom>
        </p:spPr>
        <p:txBody>
          <a:bodyPr/>
          <a:lstStyle/>
          <a:p>
            <a:fld id="{10056CEE-02A0-4F56-B38B-CA835E52CB13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52DADCD5-D7DC-43C2-B7A0-D11EC06F08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67439" y="1341437"/>
            <a:ext cx="5689600" cy="4751387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6429542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341438"/>
            <a:ext cx="5689599" cy="4751387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597352"/>
            <a:ext cx="720000" cy="144000"/>
          </a:xfrm>
          <a:prstGeom prst="rect">
            <a:avLst/>
          </a:prstGeom>
        </p:spPr>
        <p:txBody>
          <a:bodyPr/>
          <a:lstStyle/>
          <a:p>
            <a:fld id="{10056CEE-02A0-4F56-B38B-CA835E52CB13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Medienplatzhalter 6">
            <a:extLst>
              <a:ext uri="{FF2B5EF4-FFF2-40B4-BE49-F238E27FC236}">
                <a16:creationId xmlns:a16="http://schemas.microsoft.com/office/drawing/2014/main" id="{BFC26D0F-EF9F-4F1F-A65E-8D7D3924DF54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6167439" y="1341437"/>
            <a:ext cx="5689600" cy="4751387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8900926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333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 baseline="0"/>
            </a:lvl1pPr>
            <a:lvl2pPr>
              <a:defRPr sz="2400" baseline="0"/>
            </a:lvl2pPr>
            <a:lvl3pPr>
              <a:defRPr sz="2133" baseline="0"/>
            </a:lvl3pPr>
            <a:lvl4pPr>
              <a:defRPr sz="1867" baseline="0"/>
            </a:lvl4pPr>
            <a:lvl5pPr>
              <a:defRPr sz="1600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4943588"/>
      </p:ext>
    </p:extLst>
  </p:cSld>
  <p:clrMapOvr>
    <a:masterClrMapping/>
  </p:clrMapOvr>
  <p:transition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341438"/>
            <a:ext cx="5689600" cy="4751387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34963" y="6597352"/>
            <a:ext cx="720000" cy="144000"/>
          </a:xfrm>
          <a:prstGeom prst="rect">
            <a:avLst/>
          </a:prstGeom>
        </p:spPr>
        <p:txBody>
          <a:bodyPr/>
          <a:lstStyle/>
          <a:p>
            <a:fld id="{10056CEE-02A0-4F56-B38B-CA835E52CB13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AEE64861-D57D-456C-A62A-57E8842297D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67439" y="1341437"/>
            <a:ext cx="5689600" cy="47513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4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837182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1341438"/>
            <a:ext cx="3744912" cy="4751387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2F13242-C510-4A9E-804E-7F2982FCD3D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24339" y="1341438"/>
            <a:ext cx="3743325" cy="47513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4FC22F2-AA72-49E3-9219-CB145D3E265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12127" y="1341439"/>
            <a:ext cx="3744912" cy="475138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2379895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295"/>
            <a:ext cx="3744912" cy="2304000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2F13242-C510-4A9E-804E-7F2982FCD3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24339" y="3789295"/>
            <a:ext cx="3743325" cy="2304000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4FC22F2-AA72-49E3-9219-CB145D3E265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112127" y="3789296"/>
            <a:ext cx="3744912" cy="2304000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C77AFB0E-6423-42B5-AA0C-2D7007798D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341438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8855EDE0-7016-424A-B56B-6B46A13D16C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223792" y="1341438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89F26CB0-960F-46B6-9671-5E60BF630AC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12225" y="1341438"/>
            <a:ext cx="3744913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1254231"/>
      </p:ext>
    </p:extLst>
  </p:cSld>
  <p:clrMapOvr>
    <a:masterClrMapping/>
  </p:clrMapOvr>
  <p:transition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media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039"/>
            <a:ext cx="3744912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2F13242-C510-4A9E-804E-7F2982FCD3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24339" y="3789039"/>
            <a:ext cx="3743325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4FC22F2-AA72-49E3-9219-CB145D3E265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112127" y="3789040"/>
            <a:ext cx="3744912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Medienplatzhalter 6">
            <a:extLst>
              <a:ext uri="{FF2B5EF4-FFF2-40B4-BE49-F238E27FC236}">
                <a16:creationId xmlns:a16="http://schemas.microsoft.com/office/drawing/2014/main" id="{CCCFB37B-42DD-435F-9DAC-65E8F4C057B4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334963" y="1341437"/>
            <a:ext cx="3744912" cy="2231579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16" name="Medienplatzhalter 6">
            <a:extLst>
              <a:ext uri="{FF2B5EF4-FFF2-40B4-BE49-F238E27FC236}">
                <a16:creationId xmlns:a16="http://schemas.microsoft.com/office/drawing/2014/main" id="{DBC256A8-A789-4127-B0B8-081AE73B35D3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4223792" y="1341437"/>
            <a:ext cx="3744912" cy="2231579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17" name="Medienplatzhalter 6">
            <a:extLst>
              <a:ext uri="{FF2B5EF4-FFF2-40B4-BE49-F238E27FC236}">
                <a16:creationId xmlns:a16="http://schemas.microsoft.com/office/drawing/2014/main" id="{E4FDC054-1A6E-468B-A64D-F32469F062BA}"/>
              </a:ext>
            </a:extLst>
          </p:cNvPr>
          <p:cNvSpPr>
            <a:spLocks noGrp="1"/>
          </p:cNvSpPr>
          <p:nvPr>
            <p:ph type="media" sz="quarter" idx="20" hasCustomPrompt="1"/>
          </p:nvPr>
        </p:nvSpPr>
        <p:spPr>
          <a:xfrm>
            <a:off x="8112224" y="1341437"/>
            <a:ext cx="3744912" cy="2231579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0260625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media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039"/>
            <a:ext cx="5689599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2F13242-C510-4A9E-804E-7F2982FCD3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67439" y="3789039"/>
            <a:ext cx="5689600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Medienplatzhalter 6">
            <a:extLst>
              <a:ext uri="{FF2B5EF4-FFF2-40B4-BE49-F238E27FC236}">
                <a16:creationId xmlns:a16="http://schemas.microsoft.com/office/drawing/2014/main" id="{CCCFB37B-42DD-435F-9DAC-65E8F4C057B4}"/>
              </a:ext>
            </a:extLst>
          </p:cNvPr>
          <p:cNvSpPr>
            <a:spLocks noGrp="1"/>
          </p:cNvSpPr>
          <p:nvPr>
            <p:ph type="media" sz="quarter" idx="18" hasCustomPrompt="1"/>
          </p:nvPr>
        </p:nvSpPr>
        <p:spPr>
          <a:xfrm>
            <a:off x="334963" y="1341437"/>
            <a:ext cx="5689599" cy="2231579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16" name="Medienplatzhalter 6">
            <a:extLst>
              <a:ext uri="{FF2B5EF4-FFF2-40B4-BE49-F238E27FC236}">
                <a16:creationId xmlns:a16="http://schemas.microsoft.com/office/drawing/2014/main" id="{DBC256A8-A789-4127-B0B8-081AE73B35D3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6167717" y="1341437"/>
            <a:ext cx="5692012" cy="2231579"/>
          </a:xfrm>
          <a:solidFill>
            <a:schemeClr val="accent4"/>
          </a:solidFill>
        </p:spPr>
        <p:txBody>
          <a:bodyPr vert="horz" lIns="0" tIns="0" rIns="0" bIns="576000" rtlCol="0" anchor="ctr" anchorCtr="0">
            <a:normAutofit/>
          </a:bodyPr>
          <a:lstStyle>
            <a:lvl1pPr algn="ctr">
              <a:defRPr lang="de-DE"/>
            </a:lvl1pPr>
          </a:lstStyle>
          <a:p>
            <a:pPr lvl="0" algn="ctr"/>
            <a:r>
              <a:rPr lang="en-US" noProof="0"/>
              <a:t>Please insert Media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5688154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diagram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039"/>
            <a:ext cx="3744912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92F13242-C510-4A9E-804E-7F2982FCD3D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24339" y="3789039"/>
            <a:ext cx="3743325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4FC22F2-AA72-49E3-9219-CB145D3E2651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112127" y="3789040"/>
            <a:ext cx="3744912" cy="2304256"/>
          </a:xfrm>
        </p:spPr>
        <p:txBody>
          <a:bodyPr/>
          <a:lstStyle/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Diagrammplatzhalter 4">
            <a:extLst>
              <a:ext uri="{FF2B5EF4-FFF2-40B4-BE49-F238E27FC236}">
                <a16:creationId xmlns:a16="http://schemas.microsoft.com/office/drawing/2014/main" id="{DBDFDFFF-846C-4323-8E9F-FE47DDC68315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34963" y="1341438"/>
            <a:ext cx="3744912" cy="2230975"/>
          </a:xfrm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Diagram</a:t>
            </a:r>
          </a:p>
        </p:txBody>
      </p:sp>
      <p:sp>
        <p:nvSpPr>
          <p:cNvPr id="12" name="Diagrammplatzhalter 4">
            <a:extLst>
              <a:ext uri="{FF2B5EF4-FFF2-40B4-BE49-F238E27FC236}">
                <a16:creationId xmlns:a16="http://schemas.microsoft.com/office/drawing/2014/main" id="{252265FF-274B-4A19-8F6B-33AB8EE09645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4223792" y="1341438"/>
            <a:ext cx="3744912" cy="2230975"/>
          </a:xfrm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Diagram</a:t>
            </a:r>
          </a:p>
        </p:txBody>
      </p:sp>
      <p:sp>
        <p:nvSpPr>
          <p:cNvPr id="13" name="Diagrammplatzhalter 4">
            <a:extLst>
              <a:ext uri="{FF2B5EF4-FFF2-40B4-BE49-F238E27FC236}">
                <a16:creationId xmlns:a16="http://schemas.microsoft.com/office/drawing/2014/main" id="{DA4B089B-67D7-4E50-BB82-8371B4272FE6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8112224" y="1341438"/>
            <a:ext cx="3744912" cy="2230975"/>
          </a:xfrm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Diagram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2485408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17474B-E305-4152-BE25-6CD20A2300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295"/>
            <a:ext cx="3744912" cy="2304000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179996">
              <a:defRPr/>
            </a:lvl4pPr>
            <a:lvl5pPr marL="359991"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C77AFB0E-6423-42B5-AA0C-2D7007798D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341438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400993783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17474B-E305-4152-BE25-6CD20A2300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4" y="224696"/>
            <a:ext cx="11522075" cy="432000"/>
          </a:xfrm>
        </p:spPr>
        <p:txBody>
          <a:bodyPr/>
          <a:lstStyle/>
          <a:p>
            <a:r>
              <a:rPr lang="en-US" noProof="0"/>
              <a:t>Insert Title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964" y="692696"/>
            <a:ext cx="11522075" cy="360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 typeface="Arial" panose="020B0604020202020204" pitchFamily="34" charset="0"/>
              <a:buNone/>
              <a:defRPr sz="2600">
                <a:latin typeface="+mj-lt"/>
              </a:defRPr>
            </a:lvl1pPr>
            <a:lvl2pPr marL="0" indent="0" algn="l">
              <a:spcAft>
                <a:spcPts val="0"/>
              </a:spcAft>
              <a:buNone/>
              <a:defRPr sz="2600">
                <a:latin typeface="+mj-lt"/>
              </a:defRPr>
            </a:lvl2pPr>
            <a:lvl3pPr marL="0" indent="0" algn="l">
              <a:spcAft>
                <a:spcPts val="0"/>
              </a:spcAft>
              <a:buNone/>
              <a:defRPr sz="2600">
                <a:latin typeface="+mj-lt"/>
              </a:defRPr>
            </a:lvl3pPr>
            <a:lvl4pPr marL="0" indent="0" algn="l">
              <a:spcAft>
                <a:spcPts val="0"/>
              </a:spcAft>
              <a:buNone/>
              <a:defRPr sz="2600">
                <a:latin typeface="+mj-lt"/>
              </a:defRPr>
            </a:lvl4pPr>
            <a:lvl5pPr marL="0" indent="0" algn="l">
              <a:spcAft>
                <a:spcPts val="0"/>
              </a:spcAft>
              <a:buNone/>
              <a:defRPr sz="2600">
                <a:latin typeface="+mj-lt"/>
              </a:defRPr>
            </a:lvl5pPr>
          </a:lstStyle>
          <a:p>
            <a:pPr lvl="0"/>
            <a:r>
              <a:rPr lang="de-DE"/>
              <a:t>Insert </a:t>
            </a:r>
            <a:r>
              <a:rPr lang="de-DE" err="1"/>
              <a:t>Subtitle</a:t>
            </a:r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4964" y="3789295"/>
            <a:ext cx="3744912" cy="2304000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179996">
              <a:defRPr/>
            </a:lvl4pPr>
            <a:lvl5pPr marL="359991"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C77AFB0E-6423-42B5-AA0C-2D7007798D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4963" y="1341438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223793" y="3789295"/>
            <a:ext cx="3744912" cy="2304000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179996">
              <a:defRPr/>
            </a:lvl4pPr>
            <a:lvl5pPr marL="359991"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C77AFB0E-6423-42B5-AA0C-2D7007798D6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23792" y="1340769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33476137-C287-4C11-AFF6-7C8C566AE0D0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112623" y="3789295"/>
            <a:ext cx="3744912" cy="2304000"/>
          </a:xfrm>
        </p:spPr>
        <p:txBody>
          <a:bodyPr/>
          <a:lstStyle>
            <a:lvl1pPr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marL="0" indent="0">
              <a:buNone/>
              <a:defRPr>
                <a:solidFill>
                  <a:schemeClr val="tx2"/>
                </a:solidFill>
              </a:defRPr>
            </a:lvl2pPr>
            <a:lvl3pPr marL="0" indent="0">
              <a:buNone/>
              <a:defRPr/>
            </a:lvl3pPr>
            <a:lvl4pPr marL="179996">
              <a:defRPr/>
            </a:lvl4pPr>
            <a:lvl5pPr marL="359991">
              <a:defRPr/>
            </a:lvl5pPr>
          </a:lstStyle>
          <a:p>
            <a:pPr lvl="0"/>
            <a:r>
              <a:rPr lang="en-US" noProof="0"/>
              <a:t>First level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77AFB0E-6423-42B5-AA0C-2D7007798D60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12621" y="1340098"/>
            <a:ext cx="3744912" cy="2230975"/>
          </a:xfrm>
          <a:solidFill>
            <a:schemeClr val="accent4"/>
          </a:solidFill>
        </p:spPr>
        <p:txBody>
          <a:bodyPr tIns="0" bIns="576000" anchor="ctr" anchorCtr="0"/>
          <a:lstStyle>
            <a:lvl1pPr algn="ctr"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</p:spTree>
    <p:extLst>
      <p:ext uri="{BB962C8B-B14F-4D97-AF65-F5344CB8AC3E}">
        <p14:creationId xmlns:p14="http://schemas.microsoft.com/office/powerpoint/2010/main" val="1908542413"/>
      </p:ext>
    </p:extLst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4FF247-5EE4-4936-B11D-6671E0B737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653" y="224644"/>
            <a:ext cx="9784080" cy="393192"/>
          </a:xfrm>
        </p:spPr>
        <p:txBody>
          <a:bodyPr anchor="ctr"/>
          <a:lstStyle/>
          <a:p>
            <a:r>
              <a:rPr lang="en-US" noProof="0"/>
              <a:t>Insert Titl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057B885-2AF5-4665-9624-EB0CC2E8BC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9715" y="6597352"/>
            <a:ext cx="720000" cy="1440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pPr algn="ctr"/>
            <a:fld id="{10056CEE-02A0-4F56-B38B-CA835E52CB13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226105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mple Slides - 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5">
            <a:extLst>
              <a:ext uri="{FF2B5EF4-FFF2-40B4-BE49-F238E27FC236}">
                <a16:creationId xmlns:a16="http://schemas.microsoft.com/office/drawing/2014/main" id="{A3C74541-2F53-BC4D-9BF3-C1CB21FA7F8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09600" y="2367646"/>
            <a:ext cx="3352800" cy="3837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5">
            <a:extLst>
              <a:ext uri="{FF2B5EF4-FFF2-40B4-BE49-F238E27FC236}">
                <a16:creationId xmlns:a16="http://schemas.microsoft.com/office/drawing/2014/main" id="{EBADAA66-12FF-0746-926F-00A6FE95F6F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026400" y="2367645"/>
            <a:ext cx="3352800" cy="38372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5">
            <a:extLst>
              <a:ext uri="{FF2B5EF4-FFF2-40B4-BE49-F238E27FC236}">
                <a16:creationId xmlns:a16="http://schemas.microsoft.com/office/drawing/2014/main" id="{C4234335-B09F-AF4E-9919-B444534921B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18000" y="2367645"/>
            <a:ext cx="3352800" cy="38372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C10E21"/>
                </a:solidFill>
                <a:latin typeface="Lub Dub Medium" panose="020B0603030403020204" pitchFamily="34" charset="77"/>
              </a:defRPr>
            </a:lvl1pPr>
            <a:lvl2pPr marL="0">
              <a:spcBef>
                <a:spcPts val="1100"/>
              </a:spcBef>
              <a:defRPr sz="1600" b="0" i="0">
                <a:latin typeface="Lub Dub Medium" panose="020B0603030403020204" pitchFamily="34" charset="77"/>
              </a:defRPr>
            </a:lvl2pPr>
            <a:lvl3pPr marL="457189">
              <a:defRPr sz="1400" b="0" i="0">
                <a:latin typeface="Lub Dub Medium" panose="020B0603030403020204" pitchFamily="34" charset="77"/>
              </a:defRPr>
            </a:lvl3pPr>
            <a:lvl4pPr marL="914376">
              <a:defRPr sz="1200" b="0" i="0">
                <a:latin typeface="Lub Dub Medium" panose="020B0603030403020204" pitchFamily="34" charset="77"/>
              </a:defRPr>
            </a:lvl4pPr>
            <a:lvl5pPr marL="1371566">
              <a:defRPr sz="1200" b="0" i="0">
                <a:latin typeface="Lub Dub Medium" panose="020B0603030403020204" pitchFamily="34" charset="77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8313CB9E-4A2B-324B-998A-9C07B48BDA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1" y="1597141"/>
            <a:ext cx="10769600" cy="52557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0" i="0" spc="0">
                <a:solidFill>
                  <a:schemeClr val="tx1"/>
                </a:solidFill>
                <a:latin typeface="Lub Dub Medium" panose="020B0603030403020204" pitchFamily="34" charset="77"/>
              </a:defRPr>
            </a:lvl1pPr>
            <a:lvl2pPr marL="457189" indent="0" algn="ctr">
              <a:buNone/>
              <a:defRPr sz="2000"/>
            </a:lvl2pPr>
            <a:lvl3pPr marL="914376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7" indent="0" algn="ctr">
              <a:buNone/>
              <a:defRPr sz="1600"/>
            </a:lvl9pPr>
          </a:lstStyle>
          <a:p>
            <a:r>
              <a:rPr lang="en-US"/>
              <a:t>Subtitle Goes Her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578E395-9737-174F-8296-9A1B277CF7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1" y="979719"/>
            <a:ext cx="10769600" cy="699068"/>
          </a:xfrm>
          <a:prstGeom prst="rect">
            <a:avLst/>
          </a:prstGeom>
        </p:spPr>
        <p:txBody>
          <a:bodyPr anchor="b"/>
          <a:lstStyle>
            <a:lvl1pPr algn="l">
              <a:defRPr sz="3600" b="1" i="0" spc="0">
                <a:solidFill>
                  <a:srgbClr val="C10E21"/>
                </a:solidFill>
                <a:latin typeface="Lub Dub Heavy" panose="020B0603030403020204" pitchFamily="34" charset="77"/>
              </a:defRPr>
            </a:lvl1pPr>
          </a:lstStyle>
          <a:p>
            <a:r>
              <a:rPr lang="en-US"/>
              <a:t>Content Slid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E79B7DC-3943-C746-A507-0D88E5900500}"/>
              </a:ext>
            </a:extLst>
          </p:cNvPr>
          <p:cNvSpPr/>
          <p:nvPr userDrawn="1"/>
        </p:nvSpPr>
        <p:spPr>
          <a:xfrm>
            <a:off x="11662677" y="6423176"/>
            <a:ext cx="310259" cy="249315"/>
          </a:xfrm>
          <a:prstGeom prst="ellipse">
            <a:avLst/>
          </a:prstGeom>
          <a:noFill/>
          <a:ln w="25400" cap="rnd">
            <a:solidFill>
              <a:srgbClr val="8A8B8A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413B4ED0-49E0-9B47-AF0B-EE6E5A012D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82402" y="6368143"/>
            <a:ext cx="470807" cy="359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700" b="0" i="0">
                <a:solidFill>
                  <a:srgbClr val="8A8B8A"/>
                </a:solidFill>
                <a:latin typeface="Lub Dub Medium" panose="020B0603030403020204" pitchFamily="34" charset="77"/>
              </a:defRPr>
            </a:lvl1pPr>
          </a:lstStyle>
          <a:p>
            <a:fld id="{01CD3B2E-BC1C-6C4D-9D91-A67B950EE3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E4C57D7-FC23-782D-E2E7-1B220CB36449}"/>
              </a:ext>
            </a:extLst>
          </p:cNvPr>
          <p:cNvSpPr txBox="1"/>
          <p:nvPr userDrawn="1"/>
        </p:nvSpPr>
        <p:spPr>
          <a:xfrm>
            <a:off x="2060919" y="6453653"/>
            <a:ext cx="96135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i="1">
                <a:solidFill>
                  <a:srgbClr val="FFFFFF"/>
                </a:solidFill>
                <a:latin typeface="Arial"/>
                <a:ea typeface="ヒラギノ角ゴ Pro W3"/>
                <a:cs typeface="Arial" charset="0"/>
              </a:rPr>
              <a:t>The JenaValve TRIOLOGY THV System™  has CE Mark Indications for Aortic Stenosis and Aortic Regurgitation and is an Investigational Device and  is Not Available for Commercial Use in the United States</a:t>
            </a:r>
          </a:p>
        </p:txBody>
      </p:sp>
    </p:spTree>
    <p:extLst>
      <p:ext uri="{BB962C8B-B14F-4D97-AF65-F5344CB8AC3E}">
        <p14:creationId xmlns:p14="http://schemas.microsoft.com/office/powerpoint/2010/main" val="38802738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1479551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79551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6674427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9965794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449948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gradFill>
          <a:gsLst>
            <a:gs pos="0">
              <a:srgbClr val="02487B"/>
            </a:gs>
            <a:gs pos="100000">
              <a:srgbClr val="013C67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4748279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1056146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0964636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United States Capitol with a dome&#10;&#10;Description automatically generated">
            <a:extLst>
              <a:ext uri="{FF2B5EF4-FFF2-40B4-BE49-F238E27FC236}">
                <a16:creationId xmlns:a16="http://schemas.microsoft.com/office/drawing/2014/main" id="{F2F3B939-C4A2-6449-C469-46A53ADF6C8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BD5ADDF1-323B-379E-01F2-502E663731B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 bwMode="auto">
          <a:xfrm>
            <a:off x="7402" y="0"/>
            <a:ext cx="12184599" cy="6858000"/>
          </a:xfrm>
          <a:prstGeom prst="roundRect">
            <a:avLst>
              <a:gd name="adj" fmla="val 0"/>
            </a:avLst>
          </a:prstGeom>
          <a:solidFill>
            <a:srgbClr val="003559">
              <a:alpha val="69695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1" u="none" strike="noStrike" cap="none" normalizeH="0" baseline="0">
              <a:ln>
                <a:noFill/>
              </a:ln>
              <a:solidFill>
                <a:srgbClr val="FFCC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ea typeface="ヒラギノ角ゴ Pro W3" pitchFamily="-111" charset="-128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8B082BF-DD8A-263A-2B62-112C113F0E63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851755" y="4820141"/>
            <a:ext cx="999069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" name="Picture 8" descr="A black and white logo&#10;&#10;Description automatically generated">
            <a:extLst>
              <a:ext uri="{FF2B5EF4-FFF2-40B4-BE49-F238E27FC236}">
                <a16:creationId xmlns:a16="http://schemas.microsoft.com/office/drawing/2014/main" id="{20772628-34B1-2823-9C78-268DEA02B9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755" y="5092112"/>
            <a:ext cx="4028133" cy="126598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6239DC5-7688-CD82-E79A-AD0624432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6991" y="499904"/>
            <a:ext cx="10358967" cy="619667"/>
          </a:xfrm>
        </p:spPr>
        <p:txBody>
          <a:bodyPr/>
          <a:lstStyle>
            <a:lvl1pPr algn="l">
              <a:defRPr sz="5867" baseline="0">
                <a:solidFill>
                  <a:schemeClr val="tx1"/>
                </a:solidFill>
                <a:latin typeface="Aptos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01FCD08-E7F2-C0AE-5EFA-24568D2DC8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3440" y="3389376"/>
            <a:ext cx="10062517" cy="1219200"/>
          </a:xfrm>
        </p:spPr>
        <p:txBody>
          <a:bodyPr/>
          <a:lstStyle>
            <a:lvl1pPr marL="0" indent="0">
              <a:buFontTx/>
              <a:buNone/>
              <a:defRPr sz="3733" b="1" i="1">
                <a:solidFill>
                  <a:schemeClr val="accent2"/>
                </a:solidFill>
              </a:defRPr>
            </a:lvl1pPr>
            <a:lvl2pPr marL="457189" indent="0">
              <a:buFontTx/>
              <a:buNone/>
              <a:defRPr sz="3733" b="1" i="1">
                <a:solidFill>
                  <a:schemeClr val="accent2"/>
                </a:solidFill>
              </a:defRPr>
            </a:lvl2pPr>
            <a:lvl3pPr marL="914377" indent="0">
              <a:buFontTx/>
              <a:buNone/>
              <a:defRPr sz="3733" b="1" i="1">
                <a:solidFill>
                  <a:schemeClr val="accent2"/>
                </a:solidFill>
              </a:defRPr>
            </a:lvl3pPr>
            <a:lvl4pPr marL="1371566" indent="0">
              <a:buFontTx/>
              <a:buNone/>
              <a:defRPr sz="3733" b="1" i="1">
                <a:solidFill>
                  <a:schemeClr val="accent2"/>
                </a:solidFill>
              </a:defRPr>
            </a:lvl4pPr>
            <a:lvl5pPr marL="1828754" indent="0">
              <a:buFontTx/>
              <a:buNone/>
              <a:defRPr sz="3733" b="1" i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7390235"/>
      </p:ext>
    </p:extLst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155575"/>
            <a:ext cx="10358967" cy="755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79551"/>
            <a:ext cx="10363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781117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735" r:id="rId13"/>
    <p:sldLayoutId id="2147483683" r:id="rId14"/>
    <p:sldLayoutId id="2147483684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700" r:id="rId26"/>
    <p:sldLayoutId id="2147483701" r:id="rId27"/>
    <p:sldLayoutId id="2147483703" r:id="rId28"/>
    <p:sldLayoutId id="2147483704" r:id="rId29"/>
  </p:sldLayoutIdLst>
  <p:transition>
    <p:wipe dir="r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33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5pPr>
      <a:lvl6pPr marL="457189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6pPr>
      <a:lvl7pPr marL="914377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7pPr>
      <a:lvl8pPr marL="1371566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8pPr>
      <a:lvl9pPr marL="1828754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9pPr>
    </p:titleStyle>
    <p:bodyStyle>
      <a:lvl1pPr marL="342891" indent="-342891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SzPct val="110000"/>
        <a:buChar char="•"/>
        <a:defRPr sz="2800" b="0" baseline="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SzPct val="70000"/>
        <a:buFont typeface="Wingdings 2" pitchFamily="18" charset="2"/>
        <a:buChar char="¡"/>
        <a:defRPr sz="2400" b="0" baseline="0">
          <a:solidFill>
            <a:schemeClr val="tx1"/>
          </a:solidFill>
          <a:latin typeface="+mn-lt"/>
        </a:defRPr>
      </a:lvl2pPr>
      <a:lvl3pPr marL="1142971" indent="-228594" algn="l" rtl="0" eaLnBrk="0" fontAlgn="base" hangingPunct="0">
        <a:spcBef>
          <a:spcPct val="30000"/>
        </a:spcBef>
        <a:spcAft>
          <a:spcPct val="0"/>
        </a:spcAft>
        <a:buChar char="•"/>
        <a:defRPr sz="2133" b="0" baseline="0">
          <a:solidFill>
            <a:schemeClr val="tx1"/>
          </a:solidFill>
          <a:latin typeface="+mn-lt"/>
        </a:defRPr>
      </a:lvl3pPr>
      <a:lvl4pPr marL="1600160" indent="-228594" algn="l" rtl="0" eaLnBrk="0" fontAlgn="base" hangingPunct="0">
        <a:spcBef>
          <a:spcPct val="30000"/>
        </a:spcBef>
        <a:spcAft>
          <a:spcPct val="0"/>
        </a:spcAft>
        <a:buChar char="–"/>
        <a:defRPr sz="1867" b="0" baseline="0">
          <a:solidFill>
            <a:schemeClr val="tx1"/>
          </a:solidFill>
          <a:latin typeface="+mj-lt"/>
        </a:defRPr>
      </a:lvl4pPr>
      <a:lvl5pPr marL="2057349" indent="-228594" algn="l" rtl="0" eaLnBrk="0" fontAlgn="base" hangingPunct="0">
        <a:spcBef>
          <a:spcPct val="30000"/>
        </a:spcBef>
        <a:spcAft>
          <a:spcPct val="0"/>
        </a:spcAft>
        <a:buChar char="»"/>
        <a:defRPr sz="1600" b="0" baseline="0">
          <a:solidFill>
            <a:schemeClr val="tx1"/>
          </a:solidFill>
          <a:latin typeface="+mn-lt"/>
        </a:defRPr>
      </a:lvl5pPr>
      <a:lvl6pPr marL="2514537" indent="-228594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726" indent="-228594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8914" indent="-228594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103" indent="-228594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>
            <a:extLst>
              <a:ext uri="{FF2B5EF4-FFF2-40B4-BE49-F238E27FC236}">
                <a16:creationId xmlns:a16="http://schemas.microsoft.com/office/drawing/2014/main" id="{ECEA0546-1084-9904-B4E6-D62D4A81C2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754" y="497541"/>
            <a:ext cx="10804535" cy="2619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0960" tIns="60960" rIns="60960" bIns="60960" numCol="1" anchor="t" anchorCtr="0" compatLnSpc="1">
            <a:prstTxWarp prst="textNoShape">
              <a:avLst/>
            </a:prstTxWarp>
            <a:normAutofit fontScale="77500" lnSpcReduction="200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500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5pPr>
            <a:lvl6pPr marL="3429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6pPr>
            <a:lvl7pPr marL="6858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7pPr>
            <a:lvl8pPr marL="10287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8pPr>
            <a:lvl9pPr marL="13716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defTabSz="1219170" eaLnBrk="1" hangingPunct="1"/>
            <a:r>
              <a:rPr lang="en-US" sz="6000" b="1" spc="-1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</a:t>
            </a:r>
            <a:r>
              <a:rPr lang="en-US" sz="6000" b="1" spc="-8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spc="-10" dirty="0" err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JenaValve</a:t>
            </a:r>
            <a:r>
              <a:rPr lang="en-US" sz="6000" b="1" spc="-8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spc="-1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rilogy</a:t>
            </a:r>
            <a:r>
              <a:rPr lang="en-US" sz="6000" b="0" spc="-1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™</a:t>
            </a:r>
            <a:r>
              <a:rPr lang="en-US" sz="6000" b="0" spc="-8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spc="-1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Heart </a:t>
            </a:r>
            <a:r>
              <a:rPr lang="en-US" sz="6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lve</a:t>
            </a:r>
            <a:r>
              <a:rPr lang="en-US" sz="6000" b="1" spc="-65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ystem</a:t>
            </a:r>
            <a:r>
              <a:rPr lang="en-US" sz="6000" b="1" spc="-7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in High</a:t>
            </a:r>
            <a:r>
              <a:rPr lang="en-US" sz="6000" b="1" spc="-7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urgical</a:t>
            </a:r>
            <a:r>
              <a:rPr lang="en-US" sz="6000" b="1" spc="-6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isk</a:t>
            </a:r>
            <a:r>
              <a:rPr lang="en-US" sz="6000" b="1" spc="-65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Patients</a:t>
            </a:r>
            <a:r>
              <a:rPr lang="en-US" sz="6000" b="1" spc="-55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with Symptomatic,</a:t>
            </a:r>
            <a:r>
              <a:rPr lang="en-US" sz="6000" b="1" spc="-55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Severe</a:t>
            </a:r>
            <a:r>
              <a:rPr lang="en-US" sz="6000" b="1" spc="-55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ortic</a:t>
            </a:r>
            <a:r>
              <a:rPr lang="en-US" sz="6000" b="1" spc="-35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en-US" sz="6000" b="1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Regurgitation</a:t>
            </a:r>
            <a:endParaRPr lang="en-US" sz="5867" kern="0" dirty="0">
              <a:solidFill>
                <a:srgbClr val="FFFFFF"/>
              </a:solidFill>
              <a:latin typeface="Aptos" panose="020B00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Rectangle 3">
            <a:extLst>
              <a:ext uri="{FF2B5EF4-FFF2-40B4-BE49-F238E27FC236}">
                <a16:creationId xmlns:a16="http://schemas.microsoft.com/office/drawing/2014/main" id="{1778F8AF-35BF-49EA-683C-433F3A6DFDC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755" y="3930553"/>
            <a:ext cx="10620476" cy="83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Autofit/>
          </a:bodyPr>
          <a:lstStyle>
            <a:lvl1pPr marL="257175" indent="-257175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110000"/>
              <a:buChar char="•"/>
              <a:defRPr sz="21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 2" pitchFamily="18" charset="2"/>
              <a:buChar char="¡"/>
              <a:defRPr sz="1800" b="0" baseline="0">
                <a:solidFill>
                  <a:schemeClr val="tx1"/>
                </a:solidFill>
                <a:latin typeface="+mn-lt"/>
              </a:defRPr>
            </a:lvl2pPr>
            <a:lvl3pPr marL="857250" indent="-171450" algn="l" rtl="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600" b="0" baseline="0">
                <a:solidFill>
                  <a:schemeClr val="tx1"/>
                </a:solidFill>
                <a:latin typeface="+mn-lt"/>
              </a:defRPr>
            </a:lvl3pPr>
            <a:lvl4pPr marL="1200150" indent="-171450" algn="l" rtl="0" eaLnBrk="0" fontAlgn="base" hangingPunct="0">
              <a:spcBef>
                <a:spcPct val="30000"/>
              </a:spcBef>
              <a:spcAft>
                <a:spcPct val="0"/>
              </a:spcAft>
              <a:buChar char="–"/>
              <a:defRPr sz="1400" b="0" baseline="0">
                <a:solidFill>
                  <a:schemeClr val="tx1"/>
                </a:solidFill>
                <a:latin typeface="+mj-lt"/>
              </a:defRPr>
            </a:lvl4pPr>
            <a:lvl5pPr marL="1543050" indent="-171450" algn="l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 b="0" baseline="0">
                <a:solidFill>
                  <a:schemeClr val="tx1"/>
                </a:solidFill>
                <a:latin typeface="+mn-lt"/>
              </a:defRPr>
            </a:lvl5pPr>
            <a:lvl6pPr marL="1885950" indent="-171450" algn="l" rtl="0" fontAlgn="base">
              <a:spcBef>
                <a:spcPct val="30000"/>
              </a:spcBef>
              <a:spcAft>
                <a:spcPct val="0"/>
              </a:spcAft>
              <a:buChar char="»"/>
              <a:defRPr sz="1500" b="1">
                <a:solidFill>
                  <a:schemeClr val="tx1"/>
                </a:solidFill>
                <a:latin typeface="+mn-lt"/>
              </a:defRPr>
            </a:lvl6pPr>
            <a:lvl7pPr marL="2228850" indent="-171450" algn="l" rtl="0" fontAlgn="base">
              <a:spcBef>
                <a:spcPct val="30000"/>
              </a:spcBef>
              <a:spcAft>
                <a:spcPct val="0"/>
              </a:spcAft>
              <a:buChar char="»"/>
              <a:defRPr sz="1500" b="1">
                <a:solidFill>
                  <a:schemeClr val="tx1"/>
                </a:solidFill>
                <a:latin typeface="+mn-lt"/>
              </a:defRPr>
            </a:lvl7pPr>
            <a:lvl8pPr marL="2571750" indent="-171450" algn="l" rtl="0" fontAlgn="base">
              <a:spcBef>
                <a:spcPct val="30000"/>
              </a:spcBef>
              <a:spcAft>
                <a:spcPct val="0"/>
              </a:spcAft>
              <a:buChar char="»"/>
              <a:defRPr sz="1500" b="1">
                <a:solidFill>
                  <a:schemeClr val="tx1"/>
                </a:solidFill>
                <a:latin typeface="+mn-lt"/>
              </a:defRPr>
            </a:lvl8pPr>
            <a:lvl9pPr marL="2914650" indent="-171450" algn="l" rtl="0" fontAlgn="base">
              <a:spcBef>
                <a:spcPct val="30000"/>
              </a:spcBef>
              <a:spcAft>
                <a:spcPct val="0"/>
              </a:spcAft>
              <a:buChar char="»"/>
              <a:defRPr sz="1500" b="1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1219170" eaLnBrk="1" hangingPunct="1">
              <a:lnSpc>
                <a:spcPct val="110000"/>
              </a:lnSpc>
              <a:spcBef>
                <a:spcPts val="0"/>
              </a:spcBef>
              <a:buClr>
                <a:srgbClr val="FEB91A"/>
              </a:buClr>
              <a:buNone/>
            </a:pPr>
            <a:r>
              <a:rPr lang="en-US" sz="2400" b="1" kern="0">
                <a:solidFill>
                  <a:srgbClr val="FFFFFF"/>
                </a:solidFill>
                <a:latin typeface="Aptos" panose="020B0004020202020204" pitchFamily="34" charset="0"/>
              </a:rPr>
              <a:t>Torsten P. Vahl, MD</a:t>
            </a:r>
          </a:p>
          <a:p>
            <a:pPr marL="0" indent="0" defTabSz="1219170" eaLnBrk="1" hangingPunct="1">
              <a:lnSpc>
                <a:spcPct val="110000"/>
              </a:lnSpc>
              <a:spcBef>
                <a:spcPts val="0"/>
              </a:spcBef>
              <a:buClr>
                <a:srgbClr val="FEB91A"/>
              </a:buClr>
              <a:buNone/>
            </a:pPr>
            <a:r>
              <a:rPr lang="en-US" sz="2400" b="1" kern="0">
                <a:solidFill>
                  <a:srgbClr val="FFFFFF"/>
                </a:solidFill>
                <a:latin typeface="Aptos" panose="020B0004020202020204" pitchFamily="34" charset="0"/>
              </a:rPr>
              <a:t>and Vinod H. Thourani, MD for the ALIGN-AR Investigators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1D451C75-E90C-ED86-CD9B-669F2008EE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1755" y="2529052"/>
            <a:ext cx="10804536" cy="888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  <a:normAutofit/>
          </a:bodyPr>
          <a:lstStyle>
            <a:lvl1pPr marL="257175" indent="-257175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110000"/>
              <a:buChar char="•"/>
              <a:defRPr sz="2100" b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57213" indent="-214313" algn="l" rtl="0" eaLnBrk="0" fontAlgn="base" hangingPunct="0"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Wingdings 2" pitchFamily="18" charset="2"/>
              <a:buChar char="¡"/>
              <a:defRPr sz="1800" b="0" baseline="0">
                <a:solidFill>
                  <a:schemeClr val="tx1"/>
                </a:solidFill>
                <a:latin typeface="+mn-lt"/>
              </a:defRPr>
            </a:lvl2pPr>
            <a:lvl3pPr marL="857250" indent="-171450" algn="l" rtl="0" eaLnBrk="0" fontAlgn="base" hangingPunct="0">
              <a:spcBef>
                <a:spcPct val="30000"/>
              </a:spcBef>
              <a:spcAft>
                <a:spcPct val="0"/>
              </a:spcAft>
              <a:buChar char="•"/>
              <a:defRPr sz="1600" b="0" baseline="0">
                <a:solidFill>
                  <a:schemeClr val="tx1"/>
                </a:solidFill>
                <a:latin typeface="+mn-lt"/>
              </a:defRPr>
            </a:lvl3pPr>
            <a:lvl4pPr marL="1200150" indent="-171450" algn="l" rtl="0" eaLnBrk="0" fontAlgn="base" hangingPunct="0">
              <a:spcBef>
                <a:spcPct val="30000"/>
              </a:spcBef>
              <a:spcAft>
                <a:spcPct val="0"/>
              </a:spcAft>
              <a:buChar char="–"/>
              <a:defRPr sz="1400" b="0" baseline="0">
                <a:solidFill>
                  <a:schemeClr val="tx1"/>
                </a:solidFill>
                <a:latin typeface="+mj-lt"/>
              </a:defRPr>
            </a:lvl4pPr>
            <a:lvl5pPr marL="1543050" indent="-171450" algn="l" rtl="0" eaLnBrk="0" fontAlgn="base" hangingPunct="0">
              <a:spcBef>
                <a:spcPct val="30000"/>
              </a:spcBef>
              <a:spcAft>
                <a:spcPct val="0"/>
              </a:spcAft>
              <a:buChar char="»"/>
              <a:defRPr sz="1200" b="0" baseline="0">
                <a:solidFill>
                  <a:schemeClr val="tx1"/>
                </a:solidFill>
                <a:latin typeface="+mn-lt"/>
              </a:defRPr>
            </a:lvl5pPr>
            <a:lvl6pPr marL="1885950" indent="-171450" algn="l" rtl="0" fontAlgn="base">
              <a:spcBef>
                <a:spcPct val="30000"/>
              </a:spcBef>
              <a:spcAft>
                <a:spcPct val="0"/>
              </a:spcAft>
              <a:buChar char="»"/>
              <a:defRPr sz="1500" b="1">
                <a:solidFill>
                  <a:schemeClr val="tx1"/>
                </a:solidFill>
                <a:latin typeface="+mn-lt"/>
              </a:defRPr>
            </a:lvl6pPr>
            <a:lvl7pPr marL="2228850" indent="-171450" algn="l" rtl="0" fontAlgn="base">
              <a:spcBef>
                <a:spcPct val="30000"/>
              </a:spcBef>
              <a:spcAft>
                <a:spcPct val="0"/>
              </a:spcAft>
              <a:buChar char="»"/>
              <a:defRPr sz="1500" b="1">
                <a:solidFill>
                  <a:schemeClr val="tx1"/>
                </a:solidFill>
                <a:latin typeface="+mn-lt"/>
              </a:defRPr>
            </a:lvl7pPr>
            <a:lvl8pPr marL="2571750" indent="-171450" algn="l" rtl="0" fontAlgn="base">
              <a:spcBef>
                <a:spcPct val="30000"/>
              </a:spcBef>
              <a:spcAft>
                <a:spcPct val="0"/>
              </a:spcAft>
              <a:buChar char="»"/>
              <a:defRPr sz="1500" b="1">
                <a:solidFill>
                  <a:schemeClr val="tx1"/>
                </a:solidFill>
                <a:latin typeface="+mn-lt"/>
              </a:defRPr>
            </a:lvl8pPr>
            <a:lvl9pPr marL="2914650" indent="-171450" algn="l" rtl="0" fontAlgn="base">
              <a:spcBef>
                <a:spcPct val="30000"/>
              </a:spcBef>
              <a:spcAft>
                <a:spcPct val="0"/>
              </a:spcAft>
              <a:buChar char="»"/>
              <a:defRPr sz="1500" b="1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defTabSz="1219170" eaLnBrk="1" hangingPunct="1">
              <a:buClr>
                <a:srgbClr val="FEB91A"/>
              </a:buClr>
              <a:buNone/>
            </a:pPr>
            <a:r>
              <a:rPr lang="en-US" sz="4000" b="1">
                <a:solidFill>
                  <a:srgbClr val="E2AF0B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2-year Outcomes From The ALIGN AR Trial</a:t>
            </a:r>
            <a:endParaRPr lang="en-US" sz="3733" b="1" i="1" kern="0">
              <a:solidFill>
                <a:srgbClr val="E2AF0B"/>
              </a:solidFill>
              <a:latin typeface="Aptos" panose="020B00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D2ABDFE-6F12-AA88-A392-BD56C58BEF16}"/>
              </a:ext>
            </a:extLst>
          </p:cNvPr>
          <p:cNvSpPr txBox="1"/>
          <p:nvPr/>
        </p:nvSpPr>
        <p:spPr>
          <a:xfrm>
            <a:off x="5543126" y="6334780"/>
            <a:ext cx="66488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585" eaLnBrk="1" fontAlgn="auto" hangingPunct="1"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sz="1400" b="1">
                <a:solidFill>
                  <a:schemeClr val="tx1">
                    <a:lumMod val="95000"/>
                  </a:schemeClr>
                </a:solidFill>
              </a:rPr>
              <a:t>The Trilogy THV System is for </a:t>
            </a:r>
            <a:r>
              <a:rPr lang="en-US" sz="1400" b="1" u="sng">
                <a:solidFill>
                  <a:schemeClr val="tx1">
                    <a:lumMod val="95000"/>
                  </a:schemeClr>
                </a:solidFill>
              </a:rPr>
              <a:t>Investigational Use Only</a:t>
            </a:r>
            <a:r>
              <a:rPr lang="en-US" sz="1400" b="1">
                <a:solidFill>
                  <a:schemeClr val="tx1">
                    <a:lumMod val="95000"/>
                  </a:schemeClr>
                </a:solidFill>
              </a:rPr>
              <a:t> in the United States and is Limited by Federal (or United States) law for this use. </a:t>
            </a:r>
          </a:p>
        </p:txBody>
      </p:sp>
    </p:spTree>
  </p:cSld>
  <p:clrMapOvr>
    <a:masterClrMapping/>
  </p:clrMapOvr>
  <p:transition>
    <p:wipe dir="r"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FB023A-EA4F-B54C-1E96-78366C1169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60CB39A-141C-0566-30B2-3AB77324982F}"/>
              </a:ext>
            </a:extLst>
          </p:cNvPr>
          <p:cNvSpPr txBox="1">
            <a:spLocks/>
          </p:cNvSpPr>
          <p:nvPr/>
        </p:nvSpPr>
        <p:spPr>
          <a:xfrm>
            <a:off x="907158" y="72769"/>
            <a:ext cx="10358967" cy="755651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333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7189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4377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71566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8754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4400" kern="0">
                <a:latin typeface="+mn-lt"/>
                <a:cs typeface="Calibri" panose="020F0502020204030204" pitchFamily="34" charset="0"/>
              </a:rPr>
              <a:t>Cardiovascular Mortality at 2 Yea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1AE2F3F-7258-ED8C-28BE-6566DD27976E}"/>
              </a:ext>
            </a:extLst>
          </p:cNvPr>
          <p:cNvSpPr txBox="1"/>
          <p:nvPr/>
        </p:nvSpPr>
        <p:spPr>
          <a:xfrm>
            <a:off x="9116582" y="2982287"/>
            <a:ext cx="861502" cy="352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7.4%</a:t>
            </a:r>
            <a:endParaRPr lang="en-US" b="1" i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1F5472-8BC8-CF29-0ECB-1E0B0DB26B5C}"/>
              </a:ext>
            </a:extLst>
          </p:cNvPr>
          <p:cNvSpPr txBox="1"/>
          <p:nvPr/>
        </p:nvSpPr>
        <p:spPr>
          <a:xfrm rot="16200000">
            <a:off x="-414532" y="2792250"/>
            <a:ext cx="3946395" cy="4594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0">
                <a:solidFill>
                  <a:schemeClr val="tx2"/>
                </a:solidFill>
              </a:rPr>
              <a:t>Cardiovascular Mortality 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E170919-C66E-48E4-BBC5-96F11E0940D5}"/>
              </a:ext>
            </a:extLst>
          </p:cNvPr>
          <p:cNvSpPr txBox="1"/>
          <p:nvPr/>
        </p:nvSpPr>
        <p:spPr>
          <a:xfrm>
            <a:off x="9640098" y="5522976"/>
            <a:ext cx="484632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112</a:t>
            </a:r>
            <a:endParaRPr lang="en-US" sz="1600" b="1" i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6FF5C19-CF25-96A4-C3A3-57E64EB98D17}"/>
              </a:ext>
            </a:extLst>
          </p:cNvPr>
          <p:cNvSpPr txBox="1"/>
          <p:nvPr/>
        </p:nvSpPr>
        <p:spPr>
          <a:xfrm>
            <a:off x="9697879" y="5779008"/>
            <a:ext cx="713083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/>
              <a:t>1</a:t>
            </a:r>
            <a:r>
              <a:rPr lang="en-US" sz="1400" b="1"/>
              <a:t>3</a:t>
            </a:r>
            <a:endParaRPr lang="en-US" sz="1400" b="1" i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A5A89E3-57DD-BCFF-6383-D12C6E8BA86F}"/>
              </a:ext>
            </a:extLst>
          </p:cNvPr>
          <p:cNvGrpSpPr/>
          <p:nvPr/>
        </p:nvGrpSpPr>
        <p:grpSpPr>
          <a:xfrm>
            <a:off x="1902264" y="741944"/>
            <a:ext cx="8119872" cy="5375392"/>
            <a:chOff x="1902264" y="741944"/>
            <a:chExt cx="8119872" cy="5375392"/>
          </a:xfrm>
        </p:grpSpPr>
        <p:pic>
          <p:nvPicPr>
            <p:cNvPr id="26" name="Picture 25" descr="A screen shot of a graph&#10;&#10;Description automatically generated">
              <a:extLst>
                <a:ext uri="{FF2B5EF4-FFF2-40B4-BE49-F238E27FC236}">
                  <a16:creationId xmlns:a16="http://schemas.microsoft.com/office/drawing/2014/main" id="{1C294AA7-EE32-E6C1-570F-011B67FB8019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498" t="6323" r="1718" b="11065"/>
            <a:stretch/>
          </p:blipFill>
          <p:spPr>
            <a:xfrm>
              <a:off x="1902264" y="741944"/>
              <a:ext cx="8119872" cy="4737496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32F16042-F7C4-37BE-A1E1-BE5BFCC5A371}"/>
                </a:ext>
              </a:extLst>
            </p:cNvPr>
            <p:cNvGrpSpPr/>
            <p:nvPr/>
          </p:nvGrpSpPr>
          <p:grpSpPr>
            <a:xfrm>
              <a:off x="6291687" y="902092"/>
              <a:ext cx="3721557" cy="5215244"/>
              <a:chOff x="6258557" y="718870"/>
              <a:chExt cx="3739768" cy="5079294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2A61EA8B-5E40-C0B0-A0C2-829A44BE000C}"/>
                  </a:ext>
                </a:extLst>
              </p:cNvPr>
              <p:cNvSpPr/>
              <p:nvPr/>
            </p:nvSpPr>
            <p:spPr bwMode="auto">
              <a:xfrm>
                <a:off x="6258557" y="718870"/>
                <a:ext cx="3704435" cy="4121164"/>
              </a:xfrm>
              <a:prstGeom prst="rect">
                <a:avLst/>
              </a:prstGeom>
              <a:gradFill flip="none" rotWithShape="1">
                <a:gsLst>
                  <a:gs pos="50000">
                    <a:srgbClr val="024271"/>
                  </a:gs>
                  <a:gs pos="0">
                    <a:srgbClr val="02487C"/>
                  </a:gs>
                  <a:gs pos="100000">
                    <a:srgbClr val="013C67"/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1" i="1" u="none" strike="noStrike" cap="none" normalizeH="0" baseline="0">
                  <a:ln>
                    <a:noFill/>
                  </a:ln>
                  <a:solidFill>
                    <a:srgbClr val="FFCC99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charset="0"/>
                  <a:ea typeface="ヒラギノ角ゴ Pro W3" pitchFamily="-111" charset="-128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3DAB9D5F-FFE6-7656-CEB4-7A9163CDAF3E}"/>
                  </a:ext>
                </a:extLst>
              </p:cNvPr>
              <p:cNvSpPr txBox="1"/>
              <p:nvPr/>
            </p:nvSpPr>
            <p:spPr>
              <a:xfrm>
                <a:off x="9504549" y="4996657"/>
                <a:ext cx="493776" cy="801507"/>
              </a:xfrm>
              <a:prstGeom prst="rect">
                <a:avLst/>
              </a:prstGeom>
              <a:gradFill>
                <a:gsLst>
                  <a:gs pos="0">
                    <a:srgbClr val="013B66"/>
                  </a:gs>
                  <a:gs pos="100000">
                    <a:srgbClr val="013B66"/>
                  </a:gs>
                </a:gsLst>
                <a:lin ang="5400000" scaled="1"/>
              </a:gradFill>
            </p:spPr>
            <p:txBody>
              <a:bodyPr wrap="square" rtlCol="0">
                <a:spAutoFit/>
              </a:bodyPr>
              <a:lstStyle/>
              <a:p>
                <a:endParaRPr lang="en-US" i="0" err="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A4F076C4-F683-EC67-802D-E341F0644733}"/>
              </a:ext>
            </a:extLst>
          </p:cNvPr>
          <p:cNvSpPr txBox="1"/>
          <p:nvPr/>
        </p:nvSpPr>
        <p:spPr>
          <a:xfrm>
            <a:off x="2742510" y="4145383"/>
            <a:ext cx="739957" cy="352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1.7</a:t>
            </a:r>
            <a:r>
              <a:rPr lang="en-US" b="1" i="0"/>
              <a:t>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420B01-3E83-7B99-23CA-8778B4EA792C}"/>
              </a:ext>
            </a:extLst>
          </p:cNvPr>
          <p:cNvSpPr txBox="1"/>
          <p:nvPr/>
        </p:nvSpPr>
        <p:spPr>
          <a:xfrm>
            <a:off x="5856638" y="3407338"/>
            <a:ext cx="739957" cy="352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/>
              <a:t>6.2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D83BD9-FA37-68DF-DF7A-AB1EE602833C}"/>
              </a:ext>
            </a:extLst>
          </p:cNvPr>
          <p:cNvSpPr txBox="1"/>
          <p:nvPr/>
        </p:nvSpPr>
        <p:spPr>
          <a:xfrm>
            <a:off x="821327" y="5494412"/>
            <a:ext cx="1491828" cy="293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FFC000"/>
                </a:solidFill>
              </a:rPr>
              <a:t>Number at Risk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D74A892-39E7-225B-FF12-863C20B6683E}"/>
              </a:ext>
            </a:extLst>
          </p:cNvPr>
          <p:cNvSpPr txBox="1"/>
          <p:nvPr/>
        </p:nvSpPr>
        <p:spPr>
          <a:xfrm>
            <a:off x="604380" y="5761027"/>
            <a:ext cx="1708775" cy="293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FFC000"/>
                </a:solidFill>
              </a:rPr>
              <a:t>Number of Event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5247E7D-B512-C5AB-9C71-F65A09CE4C20}"/>
              </a:ext>
            </a:extLst>
          </p:cNvPr>
          <p:cNvSpPr txBox="1"/>
          <p:nvPr/>
        </p:nvSpPr>
        <p:spPr>
          <a:xfrm>
            <a:off x="2409561" y="5518386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8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AC9F131-2CF6-DC7D-5796-25386509FE44}"/>
              </a:ext>
            </a:extLst>
          </p:cNvPr>
          <p:cNvSpPr txBox="1"/>
          <p:nvPr/>
        </p:nvSpPr>
        <p:spPr>
          <a:xfrm>
            <a:off x="2823884" y="5518386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76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EEC0FFF-8676-2B20-CCDA-71570A2A864F}"/>
              </a:ext>
            </a:extLst>
          </p:cNvPr>
          <p:cNvSpPr txBox="1"/>
          <p:nvPr/>
        </p:nvSpPr>
        <p:spPr>
          <a:xfrm>
            <a:off x="6073204" y="5523152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64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63854AF-A549-75A4-11A7-15DA5BC5BFDF}"/>
              </a:ext>
            </a:extLst>
          </p:cNvPr>
          <p:cNvSpPr txBox="1"/>
          <p:nvPr/>
        </p:nvSpPr>
        <p:spPr>
          <a:xfrm>
            <a:off x="2381419" y="5774852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99BF91E-AA7A-430E-DB43-07A6818A4AAF}"/>
              </a:ext>
            </a:extLst>
          </p:cNvPr>
          <p:cNvSpPr txBox="1"/>
          <p:nvPr/>
        </p:nvSpPr>
        <p:spPr>
          <a:xfrm>
            <a:off x="2795742" y="5775826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/>
              <a:t>3</a:t>
            </a:r>
            <a:endParaRPr lang="en-US" sz="1400" b="1" i="0">
              <a:solidFill>
                <a:schemeClr val="tx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52646D4-5DFD-7268-D925-6473C959DAB3}"/>
              </a:ext>
            </a:extLst>
          </p:cNvPr>
          <p:cNvSpPr txBox="1"/>
          <p:nvPr/>
        </p:nvSpPr>
        <p:spPr>
          <a:xfrm>
            <a:off x="6045061" y="5774852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622064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9E1B4-9B6D-991D-54B8-AE4D72F6EA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B1361D8F-E7CD-32AA-8FDA-345E041B4BA1}"/>
              </a:ext>
            </a:extLst>
          </p:cNvPr>
          <p:cNvSpPr txBox="1">
            <a:spLocks/>
          </p:cNvSpPr>
          <p:nvPr/>
        </p:nvSpPr>
        <p:spPr>
          <a:xfrm>
            <a:off x="907158" y="72769"/>
            <a:ext cx="10358967" cy="755651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333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7189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4377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71566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8754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4400" kern="0">
                <a:latin typeface="+mn-lt"/>
                <a:cs typeface="Calibri" panose="020F0502020204030204" pitchFamily="34" charset="0"/>
              </a:rPr>
              <a:t>Cardiovascular Mortality at 2 Year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4B67C6-F116-B0EF-AEFC-D5FC6D4D3B64}"/>
              </a:ext>
            </a:extLst>
          </p:cNvPr>
          <p:cNvSpPr txBox="1"/>
          <p:nvPr/>
        </p:nvSpPr>
        <p:spPr>
          <a:xfrm>
            <a:off x="9116582" y="2982287"/>
            <a:ext cx="861502" cy="352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7.4%</a:t>
            </a:r>
            <a:endParaRPr lang="en-US" b="1" i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2725B26-269F-396C-0CFC-A739C7999DDE}"/>
              </a:ext>
            </a:extLst>
          </p:cNvPr>
          <p:cNvSpPr txBox="1"/>
          <p:nvPr/>
        </p:nvSpPr>
        <p:spPr>
          <a:xfrm rot="16200000">
            <a:off x="-414532" y="2792250"/>
            <a:ext cx="3946395" cy="4594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0">
                <a:solidFill>
                  <a:schemeClr val="tx2"/>
                </a:solidFill>
              </a:rPr>
              <a:t>Cardiovascular Mortality 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621559-FCC8-04AE-D7F0-21D042EA4331}"/>
              </a:ext>
            </a:extLst>
          </p:cNvPr>
          <p:cNvSpPr txBox="1"/>
          <p:nvPr/>
        </p:nvSpPr>
        <p:spPr>
          <a:xfrm>
            <a:off x="9640098" y="5522976"/>
            <a:ext cx="484632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/>
              <a:t>112</a:t>
            </a:r>
            <a:endParaRPr lang="en-US" sz="1600" b="1" i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2F94052-0EDB-7FBE-6EA1-F87CC05EA13A}"/>
              </a:ext>
            </a:extLst>
          </p:cNvPr>
          <p:cNvSpPr txBox="1"/>
          <p:nvPr/>
        </p:nvSpPr>
        <p:spPr>
          <a:xfrm>
            <a:off x="9697879" y="5779008"/>
            <a:ext cx="713083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/>
              <a:t>1</a:t>
            </a:r>
            <a:r>
              <a:rPr lang="en-US" sz="1400" b="1"/>
              <a:t>3</a:t>
            </a:r>
            <a:endParaRPr lang="en-US" sz="1400" b="1" i="0"/>
          </a:p>
        </p:txBody>
      </p:sp>
      <p:pic>
        <p:nvPicPr>
          <p:cNvPr id="26" name="Picture 25" descr="A screen shot of a graph&#10;&#10;Description automatically generated">
            <a:extLst>
              <a:ext uri="{FF2B5EF4-FFF2-40B4-BE49-F238E27FC236}">
                <a16:creationId xmlns:a16="http://schemas.microsoft.com/office/drawing/2014/main" id="{01FBBFCB-E72A-9E83-E947-11F652AD84F6}"/>
              </a:ext>
            </a:extLst>
          </p:cNvPr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98" t="6323" r="1718" b="11065"/>
          <a:stretch/>
        </p:blipFill>
        <p:spPr>
          <a:xfrm>
            <a:off x="1902264" y="741944"/>
            <a:ext cx="8119872" cy="4737496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582D7ABF-E702-AE73-2053-3F81DAF2FA80}"/>
              </a:ext>
            </a:extLst>
          </p:cNvPr>
          <p:cNvSpPr txBox="1"/>
          <p:nvPr/>
        </p:nvSpPr>
        <p:spPr>
          <a:xfrm>
            <a:off x="2742510" y="4145383"/>
            <a:ext cx="739957" cy="352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1.7</a:t>
            </a:r>
            <a:r>
              <a:rPr lang="en-US" b="1" i="0"/>
              <a:t>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FE10C72-D6A1-6613-D12B-A4E3F503145F}"/>
              </a:ext>
            </a:extLst>
          </p:cNvPr>
          <p:cNvSpPr txBox="1"/>
          <p:nvPr/>
        </p:nvSpPr>
        <p:spPr>
          <a:xfrm>
            <a:off x="5856638" y="3407338"/>
            <a:ext cx="739957" cy="3523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/>
              <a:t>6.2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E7B7CD1-0362-E13B-E397-EB471ED5511D}"/>
              </a:ext>
            </a:extLst>
          </p:cNvPr>
          <p:cNvSpPr txBox="1"/>
          <p:nvPr/>
        </p:nvSpPr>
        <p:spPr>
          <a:xfrm>
            <a:off x="821327" y="5494412"/>
            <a:ext cx="1491828" cy="293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FFC000"/>
                </a:solidFill>
              </a:rPr>
              <a:t>Number at Risk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7729D49-CCBD-3EC6-FF48-0C04C61AE04B}"/>
              </a:ext>
            </a:extLst>
          </p:cNvPr>
          <p:cNvSpPr txBox="1"/>
          <p:nvPr/>
        </p:nvSpPr>
        <p:spPr>
          <a:xfrm>
            <a:off x="604380" y="5761027"/>
            <a:ext cx="1708775" cy="293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FFC000"/>
                </a:solidFill>
              </a:rPr>
              <a:t>Number of Event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FF09819-40CB-A7BA-CE2E-2D5AF0C5ACB8}"/>
              </a:ext>
            </a:extLst>
          </p:cNvPr>
          <p:cNvSpPr txBox="1"/>
          <p:nvPr/>
        </p:nvSpPr>
        <p:spPr>
          <a:xfrm>
            <a:off x="2409561" y="5518386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8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3213A54-9DF8-2721-3992-EBD6BB855A3A}"/>
              </a:ext>
            </a:extLst>
          </p:cNvPr>
          <p:cNvSpPr txBox="1"/>
          <p:nvPr/>
        </p:nvSpPr>
        <p:spPr>
          <a:xfrm>
            <a:off x="2823884" y="5518386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76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6694C90-B3B3-B1AC-BA61-101FBE03D476}"/>
              </a:ext>
            </a:extLst>
          </p:cNvPr>
          <p:cNvSpPr txBox="1"/>
          <p:nvPr/>
        </p:nvSpPr>
        <p:spPr>
          <a:xfrm>
            <a:off x="6073204" y="5523152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64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412A88F-7D24-C9D0-7E9D-7784F433DA96}"/>
              </a:ext>
            </a:extLst>
          </p:cNvPr>
          <p:cNvSpPr txBox="1"/>
          <p:nvPr/>
        </p:nvSpPr>
        <p:spPr>
          <a:xfrm>
            <a:off x="2381419" y="5774852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311CF86-1206-1439-26A5-493DB6244642}"/>
              </a:ext>
            </a:extLst>
          </p:cNvPr>
          <p:cNvSpPr txBox="1"/>
          <p:nvPr/>
        </p:nvSpPr>
        <p:spPr>
          <a:xfrm>
            <a:off x="2795742" y="5775826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/>
              <a:t>3</a:t>
            </a:r>
            <a:endParaRPr lang="en-US" sz="1400" b="1" i="0">
              <a:solidFill>
                <a:schemeClr val="tx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0894589-85A1-78AA-3651-A6A69973D8BA}"/>
              </a:ext>
            </a:extLst>
          </p:cNvPr>
          <p:cNvSpPr txBox="1"/>
          <p:nvPr/>
        </p:nvSpPr>
        <p:spPr>
          <a:xfrm>
            <a:off x="6045061" y="5774852"/>
            <a:ext cx="487807" cy="293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1711243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wipe dir="r"/>
      </p:transition>
    </mc:Choice>
    <mc:Fallback xmlns="">
      <p:transition spd="slow">
        <p:wipe dir="r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FD50C2-E31A-5FE3-BAA4-B58FB823CF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23CA1B-2818-13ED-B17E-CC1569E7D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91440"/>
            <a:ext cx="10358967" cy="755651"/>
          </a:xfrm>
        </p:spPr>
        <p:txBody>
          <a:bodyPr>
            <a:noAutofit/>
          </a:bodyPr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Hemodynamic Valve Performance</a:t>
            </a:r>
            <a:br>
              <a:rPr lang="en-US" sz="4400">
                <a:solidFill>
                  <a:srgbClr val="85F5E9"/>
                </a:solidFill>
                <a:latin typeface="+mn-lt"/>
                <a:cs typeface="Calibri" panose="020F0502020204030204" pitchFamily="34" charset="0"/>
              </a:rPr>
            </a:br>
            <a:endParaRPr lang="en-US" sz="4400" i="1">
              <a:solidFill>
                <a:srgbClr val="85F5E9"/>
              </a:solidFill>
              <a:latin typeface="+mn-lt"/>
              <a:cs typeface="Calibri" panose="020F0502020204030204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41F29604-4D49-0DAD-35C5-18BA8DFEF4D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7510416"/>
              </p:ext>
            </p:extLst>
          </p:nvPr>
        </p:nvGraphicFramePr>
        <p:xfrm>
          <a:off x="1016315" y="1193283"/>
          <a:ext cx="10150907" cy="5061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45F0A5C-0141-FFC2-988C-5ACAD3431511}"/>
              </a:ext>
            </a:extLst>
          </p:cNvPr>
          <p:cNvSpPr txBox="1"/>
          <p:nvPr/>
        </p:nvSpPr>
        <p:spPr>
          <a:xfrm>
            <a:off x="8287267" y="5847546"/>
            <a:ext cx="2984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0" baseline="30000">
                <a:solidFill>
                  <a:schemeClr val="tx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85419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wipe dir="r"/>
      </p:transition>
    </mc:Choice>
    <mc:Fallback xmlns="">
      <p:transition spd="slow">
        <p:wipe dir="r"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CC9FCA-33BC-A8E6-8EB1-CA7329790B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739577-BE6B-83CA-7ED8-E6C4D77B5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</a:rPr>
              <a:t>Paravalvular Regurgitation</a:t>
            </a: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912C5872-8539-1A7D-EC26-25B9FC0F5CE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96718188"/>
              </p:ext>
            </p:extLst>
          </p:nvPr>
        </p:nvGraphicFramePr>
        <p:xfrm>
          <a:off x="1018963" y="1187816"/>
          <a:ext cx="10149840" cy="4951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1575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wipe dir="u"/>
      </p:transition>
    </mc:Choice>
    <mc:Fallback xmlns="">
      <p:transition spd="slow">
        <p:wipe dir="u"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ontent Placeholder 5">
            <a:extLst>
              <a:ext uri="{FF2B5EF4-FFF2-40B4-BE49-F238E27FC236}">
                <a16:creationId xmlns:a16="http://schemas.microsoft.com/office/drawing/2014/main" id="{67493BDF-19C5-6063-6816-6B9C67BB01F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92983833"/>
              </p:ext>
            </p:extLst>
          </p:nvPr>
        </p:nvGraphicFramePr>
        <p:xfrm>
          <a:off x="89452" y="91440"/>
          <a:ext cx="11759829" cy="6316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A0967F80-287E-0BD4-8EB5-AFF7F58D85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</a:rPr>
              <a:t>NYHA Functional Class</a:t>
            </a:r>
          </a:p>
        </p:txBody>
      </p:sp>
    </p:spTree>
    <p:extLst>
      <p:ext uri="{BB962C8B-B14F-4D97-AF65-F5344CB8AC3E}">
        <p14:creationId xmlns:p14="http://schemas.microsoft.com/office/powerpoint/2010/main" val="81712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The ALIGN AR Trial: 2 Year Follow-up</a:t>
            </a:r>
            <a:br>
              <a:rPr lang="en-US" sz="4400">
                <a:solidFill>
                  <a:srgbClr val="85F5E9"/>
                </a:solidFill>
                <a:latin typeface="+mn-lt"/>
                <a:cs typeface="Calibri" panose="020F0502020204030204" pitchFamily="34" charset="0"/>
              </a:rPr>
            </a:br>
            <a:r>
              <a:rPr lang="en-US" sz="4000" i="1">
                <a:solidFill>
                  <a:schemeClr val="tx2"/>
                </a:solidFill>
                <a:latin typeface="+mn-lt"/>
                <a:cs typeface="Calibri" panose="020F0502020204030204" pitchFamily="34" charset="0"/>
              </a:rPr>
              <a:t>Conclusions</a:t>
            </a:r>
            <a:endParaRPr lang="en-US" sz="4400" i="1">
              <a:solidFill>
                <a:schemeClr val="tx2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572B81B4-5FAB-4296-A2B4-D3C93DDC83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8040" y="1498935"/>
            <a:ext cx="10343213" cy="4381083"/>
          </a:xfrm>
          <a:solidFill>
            <a:schemeClr val="bg1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82880" tIns="274320" rIns="182880" bIns="274320" numCol="1" anchor="ctr" anchorCtr="0" compatLnSpc="1">
            <a:prstTxWarp prst="textNoShape">
              <a:avLst/>
            </a:prstTxWarp>
          </a:bodyPr>
          <a:lstStyle/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2400" dirty="0"/>
              <a:t>Mortality was primarily noncardiac between 1 and 2 years in this population with numerous comorbidities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2400" dirty="0"/>
              <a:t>Hemodynamic valve performance was favorable beyond 1 year with average EOA &gt;2.5 cm</a:t>
            </a:r>
            <a:r>
              <a:rPr lang="en-US" sz="2400" baseline="30000" dirty="0"/>
              <a:t>2</a:t>
            </a:r>
            <a:r>
              <a:rPr lang="en-US" sz="2400" dirty="0"/>
              <a:t> and mean transvalvular gradient &lt;5 mmHg and no cases of hemodynamic valve deterioration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2400" dirty="0"/>
              <a:t>The favorable</a:t>
            </a:r>
            <a:r>
              <a:rPr lang="en-US" sz="2400" dirty="0">
                <a:solidFill>
                  <a:schemeClr val="tx1"/>
                </a:solidFill>
              </a:rPr>
              <a:t> LV remodeling</a:t>
            </a:r>
            <a:r>
              <a:rPr lang="en-US" sz="2400" dirty="0"/>
              <a:t> findings observed by echocardiography at 1 year were sustained at 2 years</a:t>
            </a:r>
          </a:p>
          <a:p>
            <a:pPr>
              <a:spcBef>
                <a:spcPts val="600"/>
              </a:spcBef>
              <a:spcAft>
                <a:spcPts val="1200"/>
              </a:spcAft>
              <a:buClr>
                <a:schemeClr val="tx2"/>
              </a:buClr>
            </a:pPr>
            <a:r>
              <a:rPr lang="en-US" sz="2400" dirty="0"/>
              <a:t>The improvements in NYHA functional class and KCCQ-OS observed at 1 year were preserved at 2 year follow-up</a:t>
            </a:r>
          </a:p>
        </p:txBody>
      </p:sp>
    </p:spTree>
    <p:extLst>
      <p:ext uri="{BB962C8B-B14F-4D97-AF65-F5344CB8AC3E}">
        <p14:creationId xmlns:p14="http://schemas.microsoft.com/office/powerpoint/2010/main" val="2517539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909" y="1076559"/>
            <a:ext cx="10993291" cy="1323975"/>
          </a:xfrm>
        </p:spPr>
        <p:txBody>
          <a:bodyPr/>
          <a:lstStyle/>
          <a:p>
            <a:pPr marL="0" indent="0">
              <a:buNone/>
            </a:pPr>
            <a:r>
              <a:rPr lang="en-US" sz="2667"/>
              <a:t>Within the prior 24 months, I have had a relevant financial relationship with a company producing, marketing, selling, re-selling, or distributing healthcare products used by or on patients: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910637"/>
              </p:ext>
            </p:extLst>
          </p:nvPr>
        </p:nvGraphicFramePr>
        <p:xfrm>
          <a:off x="1023458" y="2588621"/>
          <a:ext cx="9933517" cy="3246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557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777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5920">
                <a:tc>
                  <a:txBody>
                    <a:bodyPr/>
                    <a:lstStyle/>
                    <a:p>
                      <a:r>
                        <a:rPr lang="en-US" sz="1900" u="sng">
                          <a:solidFill>
                            <a:schemeClr val="tx1"/>
                          </a:solidFill>
                          <a:latin typeface="+mn-lt"/>
                        </a:rPr>
                        <a:t>Nature of Financial</a:t>
                      </a:r>
                      <a:r>
                        <a:rPr lang="en-US" sz="1900" u="sng" baseline="0">
                          <a:solidFill>
                            <a:schemeClr val="tx1"/>
                          </a:solidFill>
                          <a:latin typeface="+mn-lt"/>
                        </a:rPr>
                        <a:t> Relationship</a:t>
                      </a:r>
                      <a:endParaRPr lang="en-US" sz="1900" u="sng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u="sng">
                          <a:solidFill>
                            <a:schemeClr val="tx1"/>
                          </a:solidFill>
                          <a:latin typeface="+mn-lt"/>
                        </a:rPr>
                        <a:t>Ineligible Company</a:t>
                      </a: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r>
                        <a:rPr lang="en-US" sz="1900">
                          <a:solidFill>
                            <a:schemeClr val="tx1"/>
                          </a:solidFill>
                          <a:latin typeface="+mn-lt"/>
                        </a:rPr>
                        <a:t>Grant/Research Suppor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900" dirty="0">
                          <a:solidFill>
                            <a:srgbClr val="E2AF0B"/>
                          </a:solidFill>
                          <a:latin typeface="+mn-lt"/>
                        </a:rPr>
                        <a:t>Edwards Lifesciences, Boston Scientific, Medtronic, </a:t>
                      </a:r>
                      <a:r>
                        <a:rPr lang="en-US" sz="1900" dirty="0" err="1">
                          <a:solidFill>
                            <a:srgbClr val="E2AF0B"/>
                          </a:solidFill>
                          <a:latin typeface="+mn-lt"/>
                        </a:rPr>
                        <a:t>JenaValve</a:t>
                      </a:r>
                      <a:endParaRPr lang="en-US" sz="1900" dirty="0">
                        <a:solidFill>
                          <a:srgbClr val="E2AF0B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r>
                        <a:rPr lang="en-US" sz="1900">
                          <a:solidFill>
                            <a:schemeClr val="tx1"/>
                          </a:solidFill>
                          <a:latin typeface="+mn-lt"/>
                        </a:rPr>
                        <a:t>Consultant</a:t>
                      </a:r>
                      <a:r>
                        <a:rPr lang="en-US" sz="1900" baseline="0">
                          <a:solidFill>
                            <a:schemeClr val="tx1"/>
                          </a:solidFill>
                          <a:latin typeface="+mn-lt"/>
                        </a:rPr>
                        <a:t> Fees/Honoraria</a:t>
                      </a:r>
                      <a:endParaRPr lang="en-US" sz="19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>
                          <a:solidFill>
                            <a:srgbClr val="E2AF0B"/>
                          </a:solidFill>
                          <a:latin typeface="+mn-lt"/>
                        </a:rPr>
                        <a:t>4C Medical, Abbott, </a:t>
                      </a:r>
                      <a:r>
                        <a:rPr lang="en-US" sz="1900" err="1">
                          <a:solidFill>
                            <a:srgbClr val="E2AF0B"/>
                          </a:solidFill>
                          <a:latin typeface="+mn-lt"/>
                        </a:rPr>
                        <a:t>Innovheart</a:t>
                      </a:r>
                      <a:r>
                        <a:rPr lang="en-US" sz="1900">
                          <a:solidFill>
                            <a:srgbClr val="E2AF0B"/>
                          </a:solidFill>
                          <a:latin typeface="+mn-lt"/>
                        </a:rPr>
                        <a:t>, Philips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r>
                        <a:rPr lang="en-US" sz="1900">
                          <a:solidFill>
                            <a:schemeClr val="tx1"/>
                          </a:solidFill>
                          <a:latin typeface="+mn-lt"/>
                        </a:rPr>
                        <a:t>Individual Stock(s)/Stock Option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>
                          <a:solidFill>
                            <a:srgbClr val="E2AF0B"/>
                          </a:solidFill>
                          <a:latin typeface="+mn-lt"/>
                        </a:rPr>
                        <a:t>Non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r>
                        <a:rPr lang="en-US" sz="1900">
                          <a:solidFill>
                            <a:schemeClr val="tx1"/>
                          </a:solidFill>
                          <a:latin typeface="+mn-lt"/>
                        </a:rPr>
                        <a:t>Royalties/Patent Beneficiar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>
                          <a:solidFill>
                            <a:srgbClr val="E2AF0B"/>
                          </a:solidFill>
                          <a:latin typeface="+mn-lt"/>
                        </a:rPr>
                        <a:t>Non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r>
                        <a:rPr lang="en-US" sz="1900">
                          <a:solidFill>
                            <a:schemeClr val="tx1"/>
                          </a:solidFill>
                          <a:latin typeface="+mn-lt"/>
                        </a:rPr>
                        <a:t>Executive Role/Ownership Interes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>
                          <a:solidFill>
                            <a:srgbClr val="E2AF0B"/>
                          </a:solidFill>
                          <a:latin typeface="+mn-lt"/>
                        </a:rPr>
                        <a:t>Non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5920">
                <a:tc>
                  <a:txBody>
                    <a:bodyPr/>
                    <a:lstStyle/>
                    <a:p>
                      <a:r>
                        <a:rPr lang="en-US" sz="1900">
                          <a:solidFill>
                            <a:schemeClr val="tx1"/>
                          </a:solidFill>
                          <a:latin typeface="+mn-lt"/>
                        </a:rPr>
                        <a:t>Other Financial Benefit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dirty="0">
                          <a:solidFill>
                            <a:srgbClr val="E2AF0B"/>
                          </a:solidFill>
                          <a:latin typeface="+mn-lt"/>
                        </a:rPr>
                        <a:t>Non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452695" y="173217"/>
            <a:ext cx="11604219" cy="567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0960" tIns="60960" rIns="60960" bIns="60960" numCol="1" anchor="t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5pPr>
            <a:lvl6pPr marL="3429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6pPr>
            <a:lvl7pPr marL="6858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7pPr>
            <a:lvl8pPr marL="10287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8pPr>
            <a:lvl9pPr marL="1371600" algn="ctr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9170" eaLnBrk="1" hangingPunct="1">
              <a:defRPr/>
            </a:pPr>
            <a:r>
              <a:rPr lang="en-US" sz="4000">
                <a:solidFill>
                  <a:srgbClr val="FEB91A"/>
                </a:solidFill>
                <a:latin typeface="Arial"/>
              </a:rPr>
              <a:t>Disclosure of Relevant Financial Relationshi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FFAE31-1D81-4333-A0C9-CB6557031261}"/>
              </a:ext>
            </a:extLst>
          </p:cNvPr>
          <p:cNvSpPr txBox="1"/>
          <p:nvPr/>
        </p:nvSpPr>
        <p:spPr>
          <a:xfrm>
            <a:off x="3321056" y="6217661"/>
            <a:ext cx="5338321" cy="5438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67" b="1">
                <a:solidFill>
                  <a:srgbClr val="FFFFFF"/>
                </a:solidFill>
                <a:latin typeface="Arial" charset="0"/>
                <a:ea typeface="ヒラギノ角ゴ Pro W3"/>
                <a:cs typeface="Arial" charset="0"/>
              </a:rPr>
              <a:t>All Relevant Financial Relationships have been mitigated</a:t>
            </a:r>
            <a:r>
              <a:rPr lang="en-US" sz="1467">
                <a:solidFill>
                  <a:srgbClr val="FFFFFF"/>
                </a:solidFill>
                <a:latin typeface="Arial" charset="0"/>
                <a:ea typeface="ヒラギノ角ゴ Pro W3"/>
                <a:cs typeface="Arial" charset="0"/>
              </a:rPr>
              <a:t>.</a:t>
            </a:r>
          </a:p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67">
                <a:solidFill>
                  <a:srgbClr val="FFFFFF"/>
                </a:solidFill>
                <a:latin typeface="Arial" charset="0"/>
                <a:ea typeface="ヒラギノ角ゴ Pro W3"/>
                <a:cs typeface="Arial" charset="0"/>
              </a:rPr>
              <a:t>Faculty disclosure information can be found on the app</a:t>
            </a:r>
          </a:p>
        </p:txBody>
      </p:sp>
    </p:spTree>
    <p:extLst>
      <p:ext uri="{BB962C8B-B14F-4D97-AF65-F5344CB8AC3E}">
        <p14:creationId xmlns:p14="http://schemas.microsoft.com/office/powerpoint/2010/main" val="3127638639"/>
      </p:ext>
    </p:extLst>
  </p:cSld>
  <p:clrMapOvr>
    <a:masterClrMapping/>
  </p:clrMapOvr>
  <p:transition>
    <p:wipe dir="r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11E1D2CA-DF53-7B38-8432-611CBF9D7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0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Purpose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0F38E20-C815-BA1D-96AB-4A09AEB563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944370"/>
            <a:ext cx="10363200" cy="2420239"/>
          </a:xfrm>
          <a:solidFill>
            <a:schemeClr val="bg1">
              <a:lumMod val="50000"/>
            </a:schemeClr>
          </a:solidFill>
          <a:ln>
            <a:solidFill>
              <a:schemeClr val="tx1">
                <a:lumMod val="85000"/>
              </a:schemeClr>
            </a:solidFill>
          </a:ln>
        </p:spPr>
        <p:txBody>
          <a:bodyPr lIns="274320" tIns="182880" rIns="274320" bIns="182880" anchor="ctr"/>
          <a:lstStyle/>
          <a:p>
            <a:pPr marL="0" indent="0" algn="ctr">
              <a:buClr>
                <a:schemeClr val="tx1"/>
              </a:buClr>
              <a:buNone/>
            </a:pPr>
            <a:r>
              <a:rPr lang="en-US"/>
              <a:t>Report 2-year outcomes from the ALIGN-AR pivotal trial evaluating TAVR with the Trilogy transcatheter heart valve (THV) amongst high surgical risk patients with symptomatic ≥3+ aortic regurgitation</a:t>
            </a:r>
          </a:p>
        </p:txBody>
      </p:sp>
    </p:spTree>
    <p:extLst>
      <p:ext uri="{BB962C8B-B14F-4D97-AF65-F5344CB8AC3E}">
        <p14:creationId xmlns:p14="http://schemas.microsoft.com/office/powerpoint/2010/main" val="2964278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DD706B85-B019-5417-A20B-7532E8F4279B}"/>
              </a:ext>
            </a:extLst>
          </p:cNvPr>
          <p:cNvSpPr txBox="1">
            <a:spLocks/>
          </p:cNvSpPr>
          <p:nvPr/>
        </p:nvSpPr>
        <p:spPr>
          <a:xfrm>
            <a:off x="756385" y="4809916"/>
            <a:ext cx="3432034" cy="5107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igns THV with native cusps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E8FB820-87F4-2A3A-B5D8-FCF8DDCB2541}"/>
              </a:ext>
            </a:extLst>
          </p:cNvPr>
          <p:cNvSpPr txBox="1">
            <a:spLocks/>
          </p:cNvSpPr>
          <p:nvPr/>
        </p:nvSpPr>
        <p:spPr>
          <a:xfrm>
            <a:off x="4379983" y="4812878"/>
            <a:ext cx="3432034" cy="8932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cators “clip” onto native leaflets forming a natural seal and stable securement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902A84DA-5683-C608-0077-96B69F22250F}"/>
              </a:ext>
            </a:extLst>
          </p:cNvPr>
          <p:cNvSpPr txBox="1">
            <a:spLocks/>
          </p:cNvSpPr>
          <p:nvPr/>
        </p:nvSpPr>
        <p:spPr>
          <a:xfrm>
            <a:off x="7964012" y="4809916"/>
            <a:ext cx="3524321" cy="16210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rge open cells provide access to low coronar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ared sealing ring conforms to annulus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EAB81F4B-5B3E-C7AA-7447-359F60D27C04}"/>
              </a:ext>
            </a:extLst>
          </p:cNvPr>
          <p:cNvSpPr txBox="1">
            <a:spLocks/>
          </p:cNvSpPr>
          <p:nvPr/>
        </p:nvSpPr>
        <p:spPr>
          <a:xfrm>
            <a:off x="10770616" y="3088483"/>
            <a:ext cx="735486" cy="4360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3BAE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F395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7-31F opening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BFB58409-5AD0-1B22-5483-EC201D7E47B3}"/>
              </a:ext>
            </a:extLst>
          </p:cNvPr>
          <p:cNvSpPr txBox="1">
            <a:spLocks/>
          </p:cNvSpPr>
          <p:nvPr/>
        </p:nvSpPr>
        <p:spPr>
          <a:xfrm>
            <a:off x="944286" y="4404020"/>
            <a:ext cx="3020124" cy="3877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lignment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4B029773-4083-9537-BF7B-83CAF37EF5D2}"/>
              </a:ext>
            </a:extLst>
          </p:cNvPr>
          <p:cNvSpPr txBox="1">
            <a:spLocks/>
          </p:cNvSpPr>
          <p:nvPr/>
        </p:nvSpPr>
        <p:spPr>
          <a:xfrm>
            <a:off x="4585938" y="4404020"/>
            <a:ext cx="3020124" cy="3877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ositioning/Anchoring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7527D6D4-5A50-8BDA-EC64-C67118B7A616}"/>
              </a:ext>
            </a:extLst>
          </p:cNvPr>
          <p:cNvSpPr txBox="1">
            <a:spLocks/>
          </p:cNvSpPr>
          <p:nvPr/>
        </p:nvSpPr>
        <p:spPr>
          <a:xfrm>
            <a:off x="8216953" y="4404020"/>
            <a:ext cx="3020124" cy="38771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ploy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8E51495-2535-5098-BB0F-E0BED51A530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3083" y="1062577"/>
            <a:ext cx="3307077" cy="3305586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4" name="Content Placeholder 4" descr="A close-up of a person's mouth&#10;&#10;Description automatically generated with low confidence">
            <a:extLst>
              <a:ext uri="{FF2B5EF4-FFF2-40B4-BE49-F238E27FC236}">
                <a16:creationId xmlns:a16="http://schemas.microsoft.com/office/drawing/2014/main" id="{C2840C8B-25F8-F1D2-C2F3-549A053F20B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46175" y="1068201"/>
            <a:ext cx="3299651" cy="3299962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873923-4374-22F6-18E2-C4B1076A889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75113" y="1068201"/>
            <a:ext cx="3303804" cy="3299962"/>
          </a:xfrm>
          <a:prstGeom prst="rect">
            <a:avLst/>
          </a:prstGeom>
          <a:ln>
            <a:solidFill>
              <a:schemeClr val="bg2"/>
            </a:solidFill>
          </a:ln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EFF8FB6-016C-30EA-7093-CA9A44E94B8C}"/>
              </a:ext>
            </a:extLst>
          </p:cNvPr>
          <p:cNvCxnSpPr/>
          <p:nvPr/>
        </p:nvCxnSpPr>
        <p:spPr bwMode="auto">
          <a:xfrm flipV="1">
            <a:off x="7897821" y="1062577"/>
            <a:ext cx="0" cy="4801674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E37EB13-4DF8-6AE1-1E3A-2FC81D69C3DC}"/>
              </a:ext>
            </a:extLst>
          </p:cNvPr>
          <p:cNvCxnSpPr/>
          <p:nvPr/>
        </p:nvCxnSpPr>
        <p:spPr bwMode="auto">
          <a:xfrm flipV="1">
            <a:off x="4274223" y="1062577"/>
            <a:ext cx="0" cy="4801674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C4AE3572-513E-C51B-1E72-11E1232CD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Trilogy Porcine Pericardial Valve</a:t>
            </a:r>
          </a:p>
        </p:txBody>
      </p:sp>
    </p:spTree>
    <p:extLst>
      <p:ext uri="{BB962C8B-B14F-4D97-AF65-F5344CB8AC3E}">
        <p14:creationId xmlns:p14="http://schemas.microsoft.com/office/powerpoint/2010/main" val="11195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422400" y="1039411"/>
            <a:ext cx="9347200" cy="779701"/>
          </a:xfrm>
          <a:prstGeom prst="rect">
            <a:avLst/>
          </a:prstGeom>
          <a:solidFill>
            <a:schemeClr val="accent6"/>
          </a:solidFill>
          <a:ln>
            <a:solidFill>
              <a:schemeClr val="tx1">
                <a:lumMod val="50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406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320"/>
              </a:spcBef>
            </a:pPr>
            <a:r>
              <a:rPr lang="en-US" sz="2400">
                <a:solidFill>
                  <a:schemeClr val="tx1"/>
                </a:solidFill>
                <a:latin typeface="Arial"/>
                <a:cs typeface="Arial"/>
              </a:rPr>
              <a:t>Multicenter, Non-blinded, Single Arm Evaluation of Patients with Symptomatic ≥3+ Aortic Regurgitation at High Risk for Surgery</a:t>
            </a:r>
            <a:endParaRPr sz="24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1F15B36-D824-19F1-605A-1DA92D0921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91440"/>
            <a:ext cx="10358967" cy="755651"/>
          </a:xfrm>
        </p:spPr>
        <p:txBody>
          <a:bodyPr/>
          <a:lstStyle/>
          <a:p>
            <a:r>
              <a:rPr lang="en-US" sz="4400">
                <a:latin typeface="+mn-lt"/>
                <a:cs typeface="Calibri" panose="020F0502020204030204" pitchFamily="34" charset="0"/>
              </a:rPr>
              <a:t>ALIGN AR Study Design</a:t>
            </a:r>
          </a:p>
        </p:txBody>
      </p:sp>
      <p:sp>
        <p:nvSpPr>
          <p:cNvPr id="22" name="object 2">
            <a:extLst>
              <a:ext uri="{FF2B5EF4-FFF2-40B4-BE49-F238E27FC236}">
                <a16:creationId xmlns:a16="http://schemas.microsoft.com/office/drawing/2014/main" id="{7EF80B36-0E7C-8471-3284-C1FF635B6C6F}"/>
              </a:ext>
            </a:extLst>
          </p:cNvPr>
          <p:cNvSpPr txBox="1"/>
          <p:nvPr/>
        </p:nvSpPr>
        <p:spPr>
          <a:xfrm>
            <a:off x="4068609" y="2390501"/>
            <a:ext cx="4054783" cy="410369"/>
          </a:xfrm>
          <a:prstGeom prst="rect">
            <a:avLst/>
          </a:prstGeom>
          <a:solidFill>
            <a:srgbClr val="421C5E"/>
          </a:solidFill>
          <a:ln>
            <a:solidFill>
              <a:schemeClr val="tx1">
                <a:lumMod val="50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406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320"/>
              </a:spcBef>
            </a:pPr>
            <a:r>
              <a:rPr lang="en-US" sz="2400">
                <a:solidFill>
                  <a:schemeClr val="tx1"/>
                </a:solidFill>
                <a:latin typeface="Arial"/>
                <a:cs typeface="Arial"/>
              </a:rPr>
              <a:t>Trilogy THV Implantation</a:t>
            </a:r>
            <a:endParaRPr sz="24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3" name="object 2">
            <a:extLst>
              <a:ext uri="{FF2B5EF4-FFF2-40B4-BE49-F238E27FC236}">
                <a16:creationId xmlns:a16="http://schemas.microsoft.com/office/drawing/2014/main" id="{D7BC2C5B-5A01-00AD-A6FE-E1520286041E}"/>
              </a:ext>
            </a:extLst>
          </p:cNvPr>
          <p:cNvSpPr txBox="1"/>
          <p:nvPr/>
        </p:nvSpPr>
        <p:spPr>
          <a:xfrm>
            <a:off x="916517" y="3232132"/>
            <a:ext cx="10358966" cy="779701"/>
          </a:xfrm>
          <a:prstGeom prst="rect">
            <a:avLst/>
          </a:prstGeom>
          <a:solidFill>
            <a:srgbClr val="002060"/>
          </a:solidFill>
          <a:ln>
            <a:solidFill>
              <a:schemeClr val="tx1">
                <a:lumMod val="50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406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320"/>
              </a:spcBef>
            </a:pPr>
            <a:r>
              <a:rPr lang="en-US" sz="2400">
                <a:solidFill>
                  <a:schemeClr val="tx1"/>
                </a:solidFill>
                <a:latin typeface="Arial"/>
                <a:cs typeface="Arial"/>
              </a:rPr>
              <a:t>Clinical Evaluation, Echocardiography, Functional and QoL Assessment at 30 Days, 6 Months, 1 Year and Annually up to 5 Years</a:t>
            </a:r>
            <a:endParaRPr sz="2400">
              <a:solidFill>
                <a:schemeClr val="tx1"/>
              </a:solidFill>
              <a:latin typeface="Arial"/>
              <a:cs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E0219BD-6F62-3369-3EFF-058D6D2089B8}"/>
              </a:ext>
            </a:extLst>
          </p:cNvPr>
          <p:cNvGrpSpPr/>
          <p:nvPr/>
        </p:nvGrpSpPr>
        <p:grpSpPr>
          <a:xfrm>
            <a:off x="291495" y="4443614"/>
            <a:ext cx="11609005" cy="779701"/>
            <a:chOff x="384994" y="4628965"/>
            <a:chExt cx="11609005" cy="779701"/>
          </a:xfrm>
        </p:grpSpPr>
        <p:sp>
          <p:nvSpPr>
            <p:cNvPr id="25" name="object 2">
              <a:extLst>
                <a:ext uri="{FF2B5EF4-FFF2-40B4-BE49-F238E27FC236}">
                  <a16:creationId xmlns:a16="http://schemas.microsoft.com/office/drawing/2014/main" id="{BE7B88C9-0DAA-B7D4-D5B1-BAD17D05A0CB}"/>
                </a:ext>
              </a:extLst>
            </p:cNvPr>
            <p:cNvSpPr txBox="1"/>
            <p:nvPr/>
          </p:nvSpPr>
          <p:spPr>
            <a:xfrm>
              <a:off x="384994" y="4628965"/>
              <a:ext cx="3657600" cy="779701"/>
            </a:xfrm>
            <a:prstGeom prst="rect">
              <a:avLst/>
            </a:prstGeom>
            <a:solidFill>
              <a:srgbClr val="0073AB"/>
            </a:solidFill>
            <a:ln>
              <a:solidFill>
                <a:schemeClr val="tx1">
                  <a:lumMod val="50000"/>
                </a:schemeClr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40640" rIns="0" bIns="0" rtlCol="0" anchor="ctr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320"/>
                </a:spcBef>
              </a:pPr>
              <a:r>
                <a:rPr lang="en-US" sz="2400">
                  <a:solidFill>
                    <a:schemeClr val="tx1"/>
                  </a:solidFill>
                  <a:latin typeface="Arial"/>
                  <a:cs typeface="Arial"/>
                </a:rPr>
                <a:t>30 Day Primary Safety Endpoint</a:t>
              </a:r>
            </a:p>
          </p:txBody>
        </p:sp>
        <p:sp>
          <p:nvSpPr>
            <p:cNvPr id="26" name="object 2">
              <a:extLst>
                <a:ext uri="{FF2B5EF4-FFF2-40B4-BE49-F238E27FC236}">
                  <a16:creationId xmlns:a16="http://schemas.microsoft.com/office/drawing/2014/main" id="{C7A3490A-1F1B-A1C3-C1BA-DCFD82D153FA}"/>
                </a:ext>
              </a:extLst>
            </p:cNvPr>
            <p:cNvSpPr txBox="1"/>
            <p:nvPr/>
          </p:nvSpPr>
          <p:spPr>
            <a:xfrm>
              <a:off x="8336399" y="4628965"/>
              <a:ext cx="3657600" cy="779701"/>
            </a:xfrm>
            <a:prstGeom prst="rect">
              <a:avLst/>
            </a:prstGeom>
            <a:solidFill>
              <a:srgbClr val="0073AB"/>
            </a:solidFill>
            <a:ln>
              <a:solidFill>
                <a:schemeClr val="tx1">
                  <a:lumMod val="50000"/>
                </a:schemeClr>
              </a:solidFill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square" lIns="0" tIns="40640" rIns="0" bIns="0" rtlCol="0" anchor="ctr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320"/>
                </a:spcBef>
              </a:pPr>
              <a:r>
                <a:rPr lang="en-US" sz="2400">
                  <a:solidFill>
                    <a:schemeClr val="tx1"/>
                  </a:solidFill>
                  <a:latin typeface="Arial"/>
                  <a:cs typeface="Arial"/>
                </a:rPr>
                <a:t>1 Year Primary Efficacy Endpoint</a:t>
              </a:r>
            </a:p>
          </p:txBody>
        </p:sp>
      </p:grpSp>
      <p:sp>
        <p:nvSpPr>
          <p:cNvPr id="3" name="object 2">
            <a:extLst>
              <a:ext uri="{FF2B5EF4-FFF2-40B4-BE49-F238E27FC236}">
                <a16:creationId xmlns:a16="http://schemas.microsoft.com/office/drawing/2014/main" id="{DA770922-516F-936B-24CF-23EDAC2E88ED}"/>
              </a:ext>
            </a:extLst>
          </p:cNvPr>
          <p:cNvSpPr txBox="1"/>
          <p:nvPr/>
        </p:nvSpPr>
        <p:spPr>
          <a:xfrm>
            <a:off x="3874831" y="5364286"/>
            <a:ext cx="4442335" cy="779701"/>
          </a:xfrm>
          <a:prstGeom prst="rect">
            <a:avLst/>
          </a:prstGeom>
          <a:solidFill>
            <a:schemeClr val="bg2">
              <a:lumMod val="50000"/>
              <a:lumOff val="50000"/>
            </a:schemeClr>
          </a:solidFill>
          <a:ln w="12700"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406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320"/>
              </a:spcBef>
            </a:pPr>
            <a:r>
              <a:rPr lang="en-US" sz="2400">
                <a:solidFill>
                  <a:schemeClr val="tx1"/>
                </a:solidFill>
                <a:latin typeface="Arial"/>
                <a:cs typeface="Arial"/>
              </a:rPr>
              <a:t>Comparison with Prespecified Performance Goal</a:t>
            </a:r>
            <a:endParaRPr sz="240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3BCBA5CE-95DD-F91B-DDF2-238126290118}"/>
              </a:ext>
            </a:extLst>
          </p:cNvPr>
          <p:cNvCxnSpPr>
            <a:stCxn id="25" idx="2"/>
            <a:endCxn id="3" idx="1"/>
          </p:cNvCxnSpPr>
          <p:nvPr/>
        </p:nvCxnSpPr>
        <p:spPr bwMode="auto">
          <a:xfrm rot="16200000" flipH="1">
            <a:off x="2732152" y="4611458"/>
            <a:ext cx="530822" cy="1754536"/>
          </a:xfrm>
          <a:prstGeom prst="bent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onnector: Elbow 5">
            <a:extLst>
              <a:ext uri="{FF2B5EF4-FFF2-40B4-BE49-F238E27FC236}">
                <a16:creationId xmlns:a16="http://schemas.microsoft.com/office/drawing/2014/main" id="{BE83CCF7-0EE5-0C69-AD35-16C468280E5B}"/>
              </a:ext>
            </a:extLst>
          </p:cNvPr>
          <p:cNvCxnSpPr>
            <a:stCxn id="26" idx="2"/>
            <a:endCxn id="3" idx="3"/>
          </p:cNvCxnSpPr>
          <p:nvPr/>
        </p:nvCxnSpPr>
        <p:spPr bwMode="auto">
          <a:xfrm rot="5400000">
            <a:off x="8929022" y="4611459"/>
            <a:ext cx="530822" cy="1754534"/>
          </a:xfrm>
          <a:prstGeom prst="bentConnector2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3562DE89-4EE0-608D-379D-06B717CB5C99}"/>
              </a:ext>
            </a:extLst>
          </p:cNvPr>
          <p:cNvCxnSpPr>
            <a:endCxn id="23" idx="0"/>
          </p:cNvCxnSpPr>
          <p:nvPr/>
        </p:nvCxnSpPr>
        <p:spPr bwMode="auto">
          <a:xfrm>
            <a:off x="6096000" y="2813570"/>
            <a:ext cx="0" cy="418562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D8CB07FA-CFD1-4D48-B066-3C3D14C506C2}"/>
              </a:ext>
            </a:extLst>
          </p:cNvPr>
          <p:cNvCxnSpPr/>
          <p:nvPr/>
        </p:nvCxnSpPr>
        <p:spPr bwMode="auto">
          <a:xfrm>
            <a:off x="6096000" y="1819112"/>
            <a:ext cx="0" cy="543001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7" name="Group 6">
            <a:extLst>
              <a:ext uri="{FF2B5EF4-FFF2-40B4-BE49-F238E27FC236}">
                <a16:creationId xmlns:a16="http://schemas.microsoft.com/office/drawing/2014/main" id="{5F589FC0-8D58-E201-5EF1-A8DECD09026A}"/>
              </a:ext>
            </a:extLst>
          </p:cNvPr>
          <p:cNvGrpSpPr/>
          <p:nvPr/>
        </p:nvGrpSpPr>
        <p:grpSpPr>
          <a:xfrm>
            <a:off x="2092901" y="4066575"/>
            <a:ext cx="8006199" cy="339042"/>
            <a:chOff x="2159000" y="4297680"/>
            <a:chExt cx="8006199" cy="339042"/>
          </a:xfrm>
        </p:grpSpPr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8D828FDE-57A1-321F-B5A6-A2C1682D1AEE}"/>
                </a:ext>
              </a:extLst>
            </p:cNvPr>
            <p:cNvCxnSpPr/>
            <p:nvPr/>
          </p:nvCxnSpPr>
          <p:spPr bwMode="auto">
            <a:xfrm>
              <a:off x="2159000" y="4297680"/>
              <a:ext cx="0" cy="339042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Straight Arrow Connector 28">
              <a:extLst>
                <a:ext uri="{FF2B5EF4-FFF2-40B4-BE49-F238E27FC236}">
                  <a16:creationId xmlns:a16="http://schemas.microsoft.com/office/drawing/2014/main" id="{2A16D953-742E-8CBC-4AB9-07253D4697B9}"/>
                </a:ext>
              </a:extLst>
            </p:cNvPr>
            <p:cNvCxnSpPr/>
            <p:nvPr/>
          </p:nvCxnSpPr>
          <p:spPr bwMode="auto">
            <a:xfrm>
              <a:off x="10165199" y="4297680"/>
              <a:ext cx="0" cy="339042"/>
            </a:xfrm>
            <a:prstGeom prst="straightConnector1">
              <a:avLst/>
            </a:prstGeom>
            <a:solidFill>
              <a:schemeClr val="accent1"/>
            </a:solidFill>
            <a:ln w="254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643158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0FF6BB-CAE1-3D31-F13B-C95A0259FF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>
            <a:extLst>
              <a:ext uri="{FF2B5EF4-FFF2-40B4-BE49-F238E27FC236}">
                <a16:creationId xmlns:a16="http://schemas.microsoft.com/office/drawing/2014/main" id="{2B96E602-8457-48D7-39ED-ACEEFC806CF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61992" y="0"/>
            <a:ext cx="10358967" cy="622555"/>
          </a:xfrm>
          <a:prstGeom prst="rect">
            <a:avLst/>
          </a:prstGeom>
        </p:spPr>
        <p:txBody>
          <a:bodyPr vert="horz" wrap="square" lIns="0" tIns="128854" rIns="0" bIns="0" rtlCol="0">
            <a:spAutoFit/>
          </a:bodyPr>
          <a:lstStyle/>
          <a:p>
            <a:pPr marL="452120">
              <a:lnSpc>
                <a:spcPct val="100000"/>
              </a:lnSpc>
              <a:spcBef>
                <a:spcPts val="95"/>
              </a:spcBef>
            </a:pPr>
            <a:r>
              <a:rPr lang="en-US" sz="3200">
                <a:latin typeface="+mn-lt"/>
                <a:cs typeface="Calibri" panose="020F0502020204030204" pitchFamily="34" charset="0"/>
              </a:rPr>
              <a:t>Consort Diagram</a:t>
            </a:r>
            <a:endParaRPr sz="3200" spc="-10"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" name="object 2">
            <a:extLst>
              <a:ext uri="{FF2B5EF4-FFF2-40B4-BE49-F238E27FC236}">
                <a16:creationId xmlns:a16="http://schemas.microsoft.com/office/drawing/2014/main" id="{E80B7255-32B3-7359-AE71-793119284C90}"/>
              </a:ext>
            </a:extLst>
          </p:cNvPr>
          <p:cNvSpPr txBox="1"/>
          <p:nvPr/>
        </p:nvSpPr>
        <p:spPr>
          <a:xfrm>
            <a:off x="3600064" y="817853"/>
            <a:ext cx="5190458" cy="553998"/>
          </a:xfrm>
          <a:prstGeom prst="rect">
            <a:avLst/>
          </a:prstGeom>
          <a:solidFill>
            <a:srgbClr val="0073AB"/>
          </a:solidFill>
          <a:ln w="12700"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91440" rIns="0" bIns="9144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70"/>
              </a:spcBef>
            </a:pPr>
            <a:r>
              <a:rPr lang="en-US" sz="2400" b="1" spc="-70">
                <a:solidFill>
                  <a:schemeClr val="tx1"/>
                </a:solidFill>
                <a:latin typeface="Calibri"/>
                <a:cs typeface="Calibri"/>
              </a:rPr>
              <a:t>180 Patients Enrolled in ALIGN-AR </a:t>
            </a:r>
            <a:endParaRPr lang="en-US" sz="2400" b="1">
              <a:solidFill>
                <a:schemeClr val="tx1"/>
              </a:solidFill>
              <a:latin typeface="Calibri"/>
              <a:cs typeface="Calibri"/>
            </a:endParaRPr>
          </a:p>
        </p:txBody>
      </p:sp>
      <p:sp>
        <p:nvSpPr>
          <p:cNvPr id="3" name="object 3">
            <a:extLst>
              <a:ext uri="{FF2B5EF4-FFF2-40B4-BE49-F238E27FC236}">
                <a16:creationId xmlns:a16="http://schemas.microsoft.com/office/drawing/2014/main" id="{0EC626AE-6947-3A83-8868-476A7E54DED9}"/>
              </a:ext>
            </a:extLst>
          </p:cNvPr>
          <p:cNvSpPr txBox="1"/>
          <p:nvPr/>
        </p:nvSpPr>
        <p:spPr>
          <a:xfrm>
            <a:off x="4366493" y="2119871"/>
            <a:ext cx="3657600" cy="98488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182880" rIns="0" bIns="18288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70"/>
              </a:spcBef>
            </a:pPr>
            <a:r>
              <a:rPr lang="en-US" sz="2000" b="1">
                <a:solidFill>
                  <a:schemeClr val="tx1"/>
                </a:solidFill>
                <a:latin typeface="Calibri"/>
                <a:cs typeface="Calibri"/>
              </a:rPr>
              <a:t>180 (100%) included in 1-year follow up</a:t>
            </a:r>
            <a:endParaRPr sz="2000" b="1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79DCF393-1F5B-C78A-1F8D-EAB953C577E8}"/>
              </a:ext>
            </a:extLst>
          </p:cNvPr>
          <p:cNvCxnSpPr>
            <a:cxnSpLocks/>
            <a:stCxn id="2" idx="2"/>
            <a:endCxn id="3" idx="0"/>
          </p:cNvCxnSpPr>
          <p:nvPr/>
        </p:nvCxnSpPr>
        <p:spPr bwMode="auto">
          <a:xfrm>
            <a:off x="6195293" y="1371851"/>
            <a:ext cx="0" cy="74802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F0FA8183-4C4B-433E-3FC1-88B483C01848}"/>
              </a:ext>
            </a:extLst>
          </p:cNvPr>
          <p:cNvCxnSpPr>
            <a:cxnSpLocks/>
            <a:stCxn id="3" idx="2"/>
            <a:endCxn id="88" idx="3"/>
          </p:cNvCxnSpPr>
          <p:nvPr/>
        </p:nvCxnSpPr>
        <p:spPr bwMode="auto">
          <a:xfrm rot="5400000">
            <a:off x="4569303" y="2361724"/>
            <a:ext cx="882959" cy="2369022"/>
          </a:xfrm>
          <a:prstGeom prst="bentConnector2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8" name="TextBox 87">
            <a:extLst>
              <a:ext uri="{FF2B5EF4-FFF2-40B4-BE49-F238E27FC236}">
                <a16:creationId xmlns:a16="http://schemas.microsoft.com/office/drawing/2014/main" id="{280AE618-B52A-B7BD-CF41-03698CC0AFA6}"/>
              </a:ext>
            </a:extLst>
          </p:cNvPr>
          <p:cNvSpPr txBox="1"/>
          <p:nvPr/>
        </p:nvSpPr>
        <p:spPr>
          <a:xfrm>
            <a:off x="703850" y="3125940"/>
            <a:ext cx="3122421" cy="1723549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34950" marR="226060" indent="-9525" algn="ctr">
              <a:lnSpc>
                <a:spcPct val="100000"/>
              </a:lnSpc>
              <a:spcBef>
                <a:spcPts val="270"/>
              </a:spcBef>
            </a:pPr>
            <a:r>
              <a:rPr lang="en-US" sz="2000" b="1" spc="-10">
                <a:solidFill>
                  <a:schemeClr val="tx1"/>
                </a:solidFill>
                <a:latin typeface="Calibri"/>
                <a:cs typeface="Calibri"/>
              </a:rPr>
              <a:t>Lost to Follow-up (n=1)</a:t>
            </a:r>
          </a:p>
          <a:p>
            <a:pPr marL="234950" marR="226060" indent="-9525" algn="ctr">
              <a:lnSpc>
                <a:spcPct val="100000"/>
              </a:lnSpc>
              <a:spcBef>
                <a:spcPts val="270"/>
              </a:spcBef>
            </a:pPr>
            <a:r>
              <a:rPr lang="en-US" sz="2000" b="1" spc="-1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b="1" spc="-10">
                <a:solidFill>
                  <a:schemeClr val="tx1"/>
                </a:solidFill>
                <a:latin typeface="Calibri"/>
                <a:cs typeface="Calibri"/>
              </a:rPr>
              <a:t>Day 561</a:t>
            </a:r>
          </a:p>
          <a:p>
            <a:pPr marL="234950" marR="226060" indent="-9525" algn="ctr">
              <a:lnSpc>
                <a:spcPct val="100000"/>
              </a:lnSpc>
              <a:spcBef>
                <a:spcPts val="270"/>
              </a:spcBef>
            </a:pPr>
            <a:r>
              <a:rPr lang="en-US" sz="2000" b="1" spc="-10">
                <a:solidFill>
                  <a:schemeClr val="tx1"/>
                </a:solidFill>
                <a:latin typeface="Calibri"/>
                <a:cs typeface="Calibri"/>
              </a:rPr>
              <a:t>Withdrew (n=2)</a:t>
            </a:r>
          </a:p>
          <a:p>
            <a:pPr marL="234950" marR="226060" indent="-9525" algn="ctr">
              <a:lnSpc>
                <a:spcPct val="100000"/>
              </a:lnSpc>
              <a:spcBef>
                <a:spcPts val="270"/>
              </a:spcBef>
            </a:pPr>
            <a:r>
              <a:rPr lang="en-US" b="1" spc="-10">
                <a:solidFill>
                  <a:schemeClr val="tx1"/>
                </a:solidFill>
                <a:latin typeface="Calibri"/>
                <a:cs typeface="Calibri"/>
              </a:rPr>
              <a:t>Day 408</a:t>
            </a:r>
          </a:p>
          <a:p>
            <a:pPr marL="234950" marR="226060" indent="-9525" algn="ctr">
              <a:lnSpc>
                <a:spcPct val="100000"/>
              </a:lnSpc>
              <a:spcBef>
                <a:spcPts val="270"/>
              </a:spcBef>
            </a:pPr>
            <a:r>
              <a:rPr lang="en-US" b="1" spc="-10">
                <a:solidFill>
                  <a:schemeClr val="tx1"/>
                </a:solidFill>
                <a:latin typeface="Calibri"/>
                <a:cs typeface="Calibri"/>
              </a:rPr>
              <a:t>Day 440</a:t>
            </a:r>
            <a:endParaRPr lang="en-US" i="0">
              <a:solidFill>
                <a:schemeClr val="tx1"/>
              </a:solidFill>
            </a:endParaRPr>
          </a:p>
        </p:txBody>
      </p:sp>
      <p:sp>
        <p:nvSpPr>
          <p:cNvPr id="90" name="object 3">
            <a:extLst>
              <a:ext uri="{FF2B5EF4-FFF2-40B4-BE49-F238E27FC236}">
                <a16:creationId xmlns:a16="http://schemas.microsoft.com/office/drawing/2014/main" id="{D4E9AD11-0423-7D02-8387-C4534178519B}"/>
              </a:ext>
            </a:extLst>
          </p:cNvPr>
          <p:cNvSpPr txBox="1"/>
          <p:nvPr/>
        </p:nvSpPr>
        <p:spPr>
          <a:xfrm>
            <a:off x="4366493" y="5169434"/>
            <a:ext cx="3657600" cy="98488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0" tIns="182880" rIns="0" bIns="18288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270"/>
              </a:spcBef>
            </a:pPr>
            <a:r>
              <a:rPr lang="en-US" sz="2000" b="1">
                <a:solidFill>
                  <a:schemeClr val="tx1"/>
                </a:solidFill>
                <a:latin typeface="Calibri"/>
                <a:cs typeface="Calibri"/>
              </a:rPr>
              <a:t>176 (98%) Included in 2-year follow-up</a:t>
            </a:r>
            <a:endParaRPr sz="2000" b="1">
              <a:solidFill>
                <a:schemeClr val="tx1"/>
              </a:solidFill>
              <a:latin typeface="Calibri"/>
              <a:cs typeface="Calibri"/>
            </a:endParaRPr>
          </a:p>
        </p:txBody>
      </p:sp>
      <p:cxnSp>
        <p:nvCxnSpPr>
          <p:cNvPr id="119" name="Straight Arrow Connector 118">
            <a:extLst>
              <a:ext uri="{FF2B5EF4-FFF2-40B4-BE49-F238E27FC236}">
                <a16:creationId xmlns:a16="http://schemas.microsoft.com/office/drawing/2014/main" id="{B0BA55FC-8A19-8911-9144-DC5A04C05272}"/>
              </a:ext>
            </a:extLst>
          </p:cNvPr>
          <p:cNvCxnSpPr>
            <a:endCxn id="90" idx="0"/>
          </p:cNvCxnSpPr>
          <p:nvPr/>
        </p:nvCxnSpPr>
        <p:spPr bwMode="auto">
          <a:xfrm>
            <a:off x="6195293" y="3987714"/>
            <a:ext cx="0" cy="118172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19D302A1-6CE5-62A6-99B0-1AB742E34954}"/>
              </a:ext>
            </a:extLst>
          </p:cNvPr>
          <p:cNvSpPr txBox="1"/>
          <p:nvPr/>
        </p:nvSpPr>
        <p:spPr>
          <a:xfrm>
            <a:off x="8432340" y="3083947"/>
            <a:ext cx="3122421" cy="1054135"/>
          </a:xfrm>
          <a:prstGeom prst="rect">
            <a:avLst/>
          </a:prstGeom>
          <a:solidFill>
            <a:srgbClr val="00206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34950" marR="226060" indent="-9525" algn="ctr">
              <a:lnSpc>
                <a:spcPct val="100000"/>
              </a:lnSpc>
              <a:spcBef>
                <a:spcPts val="270"/>
              </a:spcBef>
            </a:pPr>
            <a:r>
              <a:rPr lang="en-US" sz="2000" b="1" spc="-10">
                <a:latin typeface="Calibri"/>
                <a:cs typeface="Calibri"/>
              </a:rPr>
              <a:t>Valve Explant for Endocarditis </a:t>
            </a:r>
            <a:r>
              <a:rPr lang="en-US" sz="2000" b="1" spc="-10">
                <a:solidFill>
                  <a:schemeClr val="tx1"/>
                </a:solidFill>
                <a:latin typeface="Calibri"/>
                <a:cs typeface="Calibri"/>
              </a:rPr>
              <a:t>(n=1)</a:t>
            </a:r>
          </a:p>
          <a:p>
            <a:pPr marL="234950" marR="226060" indent="-9525" algn="ctr">
              <a:lnSpc>
                <a:spcPct val="100000"/>
              </a:lnSpc>
              <a:spcBef>
                <a:spcPts val="270"/>
              </a:spcBef>
            </a:pPr>
            <a:r>
              <a:rPr lang="en-US" sz="2000" b="1" spc="-1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en-US" b="1" spc="-10">
                <a:solidFill>
                  <a:schemeClr val="tx1"/>
                </a:solidFill>
                <a:latin typeface="Calibri"/>
                <a:cs typeface="Calibri"/>
              </a:rPr>
              <a:t>Day 380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A536A09-28E8-D571-D2A6-1ADAD863CBF3}"/>
              </a:ext>
            </a:extLst>
          </p:cNvPr>
          <p:cNvCxnSpPr>
            <a:endCxn id="4" idx="1"/>
          </p:cNvCxnSpPr>
          <p:nvPr/>
        </p:nvCxnSpPr>
        <p:spPr bwMode="auto">
          <a:xfrm>
            <a:off x="6195293" y="3611015"/>
            <a:ext cx="2237047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741548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F375894C-B31D-7DCB-82CD-3A5000A4057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3339785"/>
              </p:ext>
            </p:extLst>
          </p:nvPr>
        </p:nvGraphicFramePr>
        <p:xfrm>
          <a:off x="33205" y="1505543"/>
          <a:ext cx="10358967" cy="3310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94AB67FD-6931-9293-2E67-D73B48FDCE57}"/>
              </a:ext>
            </a:extLst>
          </p:cNvPr>
          <p:cNvSpPr txBox="1"/>
          <p:nvPr/>
        </p:nvSpPr>
        <p:spPr>
          <a:xfrm>
            <a:off x="917131" y="1311134"/>
            <a:ext cx="339657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Enrolled Population</a:t>
            </a:r>
            <a:endParaRPr lang="en-US" sz="2400" b="1" baseline="30000">
              <a:solidFill>
                <a:schemeClr val="tx2"/>
              </a:solidFill>
            </a:endParaRPr>
          </a:p>
          <a:p>
            <a:pPr algn="ctr"/>
            <a:r>
              <a:rPr lang="en-US" sz="2400" b="1" baseline="30000">
                <a:solidFill>
                  <a:schemeClr val="tx2"/>
                </a:solidFill>
              </a:rPr>
              <a:t>N=180</a:t>
            </a:r>
            <a:endParaRPr lang="en-US" sz="2000" b="1">
              <a:solidFill>
                <a:schemeClr val="tx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47FE7A-CB7E-D1FF-AE69-552EED399E7C}"/>
              </a:ext>
            </a:extLst>
          </p:cNvPr>
          <p:cNvSpPr txBox="1"/>
          <p:nvPr/>
        </p:nvSpPr>
        <p:spPr>
          <a:xfrm>
            <a:off x="1714624" y="5474267"/>
            <a:ext cx="8762751" cy="461665"/>
          </a:xfrm>
          <a:prstGeom prst="rect">
            <a:avLst/>
          </a:prstGeom>
          <a:solidFill>
            <a:srgbClr val="92D050"/>
          </a:solidFill>
          <a:ln>
            <a:solidFill>
              <a:srgbClr val="FFFF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bg1"/>
                </a:solidFill>
              </a:rPr>
              <a:t>Non-inferiority criteria met for primary efficacy endpoin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2D5A839-9CCD-56D9-933F-01733A5AD6D5}"/>
              </a:ext>
            </a:extLst>
          </p:cNvPr>
          <p:cNvSpPr txBox="1"/>
          <p:nvPr/>
        </p:nvSpPr>
        <p:spPr>
          <a:xfrm>
            <a:off x="2012333" y="6397228"/>
            <a:ext cx="76959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aseline="30000">
                <a:ea typeface="Calibri" panose="020F0502020204030204" pitchFamily="34" charset="0"/>
              </a:rPr>
              <a:t>*</a:t>
            </a:r>
            <a:r>
              <a:rPr lang="en-US">
                <a:ea typeface="Calibri" panose="020F0502020204030204" pitchFamily="34" charset="0"/>
              </a:rPr>
              <a:t>All-cause mortality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0530C9D-E5A2-5E66-09EF-025166166FC8}"/>
              </a:ext>
            </a:extLst>
          </p:cNvPr>
          <p:cNvGrpSpPr/>
          <p:nvPr/>
        </p:nvGrpSpPr>
        <p:grpSpPr>
          <a:xfrm>
            <a:off x="6470613" y="1519397"/>
            <a:ext cx="2170337" cy="2825919"/>
            <a:chOff x="8268737" y="1112101"/>
            <a:chExt cx="2364790" cy="2825919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AB8B3EB6-0435-B798-C887-4AACA004B27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51132" y="1647632"/>
              <a:ext cx="0" cy="2290388"/>
            </a:xfrm>
            <a:prstGeom prst="line">
              <a:avLst/>
            </a:prstGeom>
            <a:ln w="38100">
              <a:solidFill>
                <a:srgbClr val="FF0000"/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4ECD174C-4945-8CA3-EFDC-82333B5037D9}"/>
                </a:ext>
              </a:extLst>
            </p:cNvPr>
            <p:cNvSpPr txBox="1"/>
            <p:nvPr/>
          </p:nvSpPr>
          <p:spPr>
            <a:xfrm>
              <a:off x="8268737" y="1112101"/>
              <a:ext cx="2364790" cy="535531"/>
            </a:xfrm>
            <a:prstGeom prst="rect">
              <a:avLst/>
            </a:prstGeom>
            <a:solidFill>
              <a:schemeClr val="tx1">
                <a:lumMod val="50000"/>
              </a:schemeClr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600">
                  <a:solidFill>
                    <a:prstClr val="white">
                      <a:lumMod val="95000"/>
                    </a:prst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cs typeface="Calibri" panose="020F0502020204030204" pitchFamily="34" charset="0"/>
                </a:rPr>
                <a:t>25% prespecified non-inferiority margin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14EBC70-62B4-448B-BCE2-A95C21CAB914}"/>
              </a:ext>
            </a:extLst>
          </p:cNvPr>
          <p:cNvGrpSpPr/>
          <p:nvPr/>
        </p:nvGrpSpPr>
        <p:grpSpPr>
          <a:xfrm>
            <a:off x="2307647" y="2724912"/>
            <a:ext cx="1058304" cy="1140183"/>
            <a:chOff x="5910113" y="1819995"/>
            <a:chExt cx="1058304" cy="1140183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E098197-CFCF-4561-5CF8-B3C5688FB4D5}"/>
                </a:ext>
              </a:extLst>
            </p:cNvPr>
            <p:cNvSpPr txBox="1"/>
            <p:nvPr/>
          </p:nvSpPr>
          <p:spPr>
            <a:xfrm>
              <a:off x="5910113" y="1819995"/>
              <a:ext cx="105830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b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ate 7.8%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B245888-594C-563A-3F73-B53B3E5A8631}"/>
                </a:ext>
              </a:extLst>
            </p:cNvPr>
            <p:cNvSpPr/>
            <p:nvPr/>
          </p:nvSpPr>
          <p:spPr bwMode="auto">
            <a:xfrm rot="2729914">
              <a:off x="6302105" y="2684939"/>
              <a:ext cx="274320" cy="27615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solidFill>
                <a:schemeClr val="tx1"/>
              </a:solidFill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1" u="none" strike="noStrike" cap="none" normalizeH="0" baseline="0">
                <a:ln>
                  <a:noFill/>
                </a:ln>
                <a:solidFill>
                  <a:srgbClr val="FFC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ヒラギノ角ゴ Pro W3" pitchFamily="-111" charset="-128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810A50A-C2D9-0981-76A6-CCABB44F6675}"/>
              </a:ext>
            </a:extLst>
          </p:cNvPr>
          <p:cNvGrpSpPr/>
          <p:nvPr/>
        </p:nvGrpSpPr>
        <p:grpSpPr>
          <a:xfrm>
            <a:off x="3031421" y="2894448"/>
            <a:ext cx="1983744" cy="1048783"/>
            <a:chOff x="7064375" y="2245108"/>
            <a:chExt cx="1983744" cy="1048783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FDAE142-66B9-701C-9302-6B1ED22CF68E}"/>
                </a:ext>
              </a:extLst>
            </p:cNvPr>
            <p:cNvSpPr txBox="1"/>
            <p:nvPr/>
          </p:nvSpPr>
          <p:spPr>
            <a:xfrm>
              <a:off x="7989816" y="2832226"/>
              <a:ext cx="10583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b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12.3%</a:t>
              </a: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2D8A797-841D-EFFF-8C37-7FCD7184DBC7}"/>
                </a:ext>
              </a:extLst>
            </p:cNvPr>
            <p:cNvCxnSpPr/>
            <p:nvPr/>
          </p:nvCxnSpPr>
          <p:spPr>
            <a:xfrm>
              <a:off x="7992355" y="2869157"/>
              <a:ext cx="0" cy="418877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9EDC92DD-F9FF-3BAE-AD1C-01C5239C3C8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064375" y="3078596"/>
              <a:ext cx="927980" cy="0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99B63D5-6145-118B-6FA3-6B87C6DA011A}"/>
                </a:ext>
              </a:extLst>
            </p:cNvPr>
            <p:cNvSpPr txBox="1"/>
            <p:nvPr/>
          </p:nvSpPr>
          <p:spPr>
            <a:xfrm>
              <a:off x="7396019" y="2245108"/>
              <a:ext cx="1589555" cy="584775"/>
            </a:xfrm>
            <a:prstGeom prst="rect">
              <a:avLst/>
            </a:prstGeom>
            <a:solidFill>
              <a:schemeClr val="bg2">
                <a:lumMod val="95000"/>
                <a:lumOff val="5000"/>
              </a:schemeClr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600" b="1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Upper 1-sided 97.5% CI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C83C80CB-616A-7686-FD93-E23896D5A286}"/>
              </a:ext>
            </a:extLst>
          </p:cNvPr>
          <p:cNvSpPr txBox="1"/>
          <p:nvPr/>
        </p:nvSpPr>
        <p:spPr>
          <a:xfrm>
            <a:off x="4151767" y="4976931"/>
            <a:ext cx="388846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 &lt;0.0001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F492C249-3808-4D6B-78D1-80AE1D388DA2}"/>
              </a:ext>
            </a:extLst>
          </p:cNvPr>
          <p:cNvSpPr txBox="1">
            <a:spLocks/>
          </p:cNvSpPr>
          <p:nvPr/>
        </p:nvSpPr>
        <p:spPr>
          <a:xfrm>
            <a:off x="916516" y="91440"/>
            <a:ext cx="10358967" cy="755651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333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7189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4377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71566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8754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4400" kern="0">
                <a:latin typeface="+mn-lt"/>
                <a:cs typeface="Calibri" panose="020F0502020204030204" pitchFamily="34" charset="0"/>
              </a:rPr>
              <a:t>Primary Efficacy Endpoint at 1 Year*</a:t>
            </a:r>
          </a:p>
        </p:txBody>
      </p:sp>
    </p:spTree>
    <p:extLst>
      <p:ext uri="{BB962C8B-B14F-4D97-AF65-F5344CB8AC3E}">
        <p14:creationId xmlns:p14="http://schemas.microsoft.com/office/powerpoint/2010/main" val="123123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6582DE-8656-7B45-F3B0-EE5874D5FA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37EC72F9-E95F-6AB3-2073-22317AAFB449}"/>
              </a:ext>
            </a:extLst>
          </p:cNvPr>
          <p:cNvSpPr txBox="1">
            <a:spLocks/>
          </p:cNvSpPr>
          <p:nvPr/>
        </p:nvSpPr>
        <p:spPr>
          <a:xfrm>
            <a:off x="916516" y="58917"/>
            <a:ext cx="10358967" cy="755651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333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7189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4377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71566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8754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4400" kern="0">
                <a:latin typeface="+mn-lt"/>
                <a:cs typeface="Calibri" panose="020F0502020204030204" pitchFamily="34" charset="0"/>
              </a:rPr>
              <a:t>All-Cause Mortality at 2 Yea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53632C1-0929-6B46-6980-0F1C48393137}"/>
              </a:ext>
            </a:extLst>
          </p:cNvPr>
          <p:cNvSpPr txBox="1"/>
          <p:nvPr/>
        </p:nvSpPr>
        <p:spPr>
          <a:xfrm>
            <a:off x="9307037" y="1420810"/>
            <a:ext cx="865718" cy="354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15.4%</a:t>
            </a:r>
            <a:endParaRPr lang="en-US" b="1" i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44BCA88-D5EC-0277-3C27-A16FC0A23F86}"/>
              </a:ext>
            </a:extLst>
          </p:cNvPr>
          <p:cNvSpPr txBox="1"/>
          <p:nvPr/>
        </p:nvSpPr>
        <p:spPr>
          <a:xfrm rot="16200000">
            <a:off x="-16150" y="2837503"/>
            <a:ext cx="31762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0">
                <a:solidFill>
                  <a:srgbClr val="FFC000"/>
                </a:solidFill>
              </a:rPr>
              <a:t>All Cause Mortality 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E61B802-782A-9EBD-180E-0D8DACF68DB8}"/>
              </a:ext>
            </a:extLst>
          </p:cNvPr>
          <p:cNvSpPr txBox="1"/>
          <p:nvPr/>
        </p:nvSpPr>
        <p:spPr>
          <a:xfrm>
            <a:off x="822389" y="5485673"/>
            <a:ext cx="1499128" cy="2950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FFC000"/>
                </a:solidFill>
              </a:rPr>
              <a:t>Number at Risk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7A916DC-1670-459D-4B83-52DA0FE87F6D}"/>
              </a:ext>
            </a:extLst>
          </p:cNvPr>
          <p:cNvSpPr txBox="1"/>
          <p:nvPr/>
        </p:nvSpPr>
        <p:spPr>
          <a:xfrm>
            <a:off x="604380" y="5753505"/>
            <a:ext cx="1717137" cy="2950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FFC000"/>
                </a:solidFill>
              </a:rPr>
              <a:t>Number of Even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E6D1F2-40A6-F748-F1AE-AC21DBADF798}"/>
              </a:ext>
            </a:extLst>
          </p:cNvPr>
          <p:cNvSpPr txBox="1"/>
          <p:nvPr/>
        </p:nvSpPr>
        <p:spPr>
          <a:xfrm>
            <a:off x="2418395" y="5509756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8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B552B80-5650-E90B-9BC7-34CBBC75C542}"/>
              </a:ext>
            </a:extLst>
          </p:cNvPr>
          <p:cNvSpPr txBox="1"/>
          <p:nvPr/>
        </p:nvSpPr>
        <p:spPr>
          <a:xfrm>
            <a:off x="2834745" y="5509756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76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66E8383-FAA5-B42A-84C4-6834B8B0A860}"/>
              </a:ext>
            </a:extLst>
          </p:cNvPr>
          <p:cNvSpPr txBox="1"/>
          <p:nvPr/>
        </p:nvSpPr>
        <p:spPr>
          <a:xfrm>
            <a:off x="6099965" y="5514544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6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D92614B-6CA7-1002-021C-591B6B661E53}"/>
              </a:ext>
            </a:extLst>
          </p:cNvPr>
          <p:cNvSpPr txBox="1"/>
          <p:nvPr/>
        </p:nvSpPr>
        <p:spPr>
          <a:xfrm>
            <a:off x="9603191" y="5482128"/>
            <a:ext cx="4901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1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9AB5E1D-C02F-71B9-514B-551FDCBBBD94}"/>
              </a:ext>
            </a:extLst>
          </p:cNvPr>
          <p:cNvSpPr txBox="1"/>
          <p:nvPr/>
        </p:nvSpPr>
        <p:spPr>
          <a:xfrm>
            <a:off x="2390115" y="5767394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96A4A6C-A89E-C4B7-A092-A35C186867A7}"/>
              </a:ext>
            </a:extLst>
          </p:cNvPr>
          <p:cNvSpPr txBox="1"/>
          <p:nvPr/>
        </p:nvSpPr>
        <p:spPr>
          <a:xfrm>
            <a:off x="2806465" y="5780676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CA4D324-A3AE-2AC3-3DA9-0D49D3F7C9E3}"/>
              </a:ext>
            </a:extLst>
          </p:cNvPr>
          <p:cNvSpPr txBox="1"/>
          <p:nvPr/>
        </p:nvSpPr>
        <p:spPr>
          <a:xfrm>
            <a:off x="6071685" y="5767394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2EB7DB0-1725-450B-5551-6FC732B83883}"/>
              </a:ext>
            </a:extLst>
          </p:cNvPr>
          <p:cNvSpPr txBox="1"/>
          <p:nvPr/>
        </p:nvSpPr>
        <p:spPr>
          <a:xfrm>
            <a:off x="9596376" y="5754666"/>
            <a:ext cx="4901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E62994-90DB-F651-74E2-0486069005A7}"/>
              </a:ext>
            </a:extLst>
          </p:cNvPr>
          <p:cNvSpPr txBox="1"/>
          <p:nvPr/>
        </p:nvSpPr>
        <p:spPr>
          <a:xfrm>
            <a:off x="2791293" y="3997179"/>
            <a:ext cx="716572" cy="354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/>
              <a:t>2.2%</a:t>
            </a:r>
          </a:p>
        </p:txBody>
      </p:sp>
      <p:pic>
        <p:nvPicPr>
          <p:cNvPr id="10" name="Picture 9" descr="A graph on a screen&#10;&#10;Description automatically generated">
            <a:extLst>
              <a:ext uri="{FF2B5EF4-FFF2-40B4-BE49-F238E27FC236}">
                <a16:creationId xmlns:a16="http://schemas.microsoft.com/office/drawing/2014/main" id="{47898DB1-51E4-9257-8D0F-30C575828C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5" t="6187" r="1483" b="11528"/>
          <a:stretch/>
        </p:blipFill>
        <p:spPr>
          <a:xfrm>
            <a:off x="1955822" y="712216"/>
            <a:ext cx="8117243" cy="472688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5585E759-A88B-8AF9-654E-036DDE92A7F0}"/>
              </a:ext>
            </a:extLst>
          </p:cNvPr>
          <p:cNvGrpSpPr/>
          <p:nvPr/>
        </p:nvGrpSpPr>
        <p:grpSpPr>
          <a:xfrm>
            <a:off x="6351419" y="839535"/>
            <a:ext cx="3677920" cy="5138532"/>
            <a:chOff x="6248400" y="718871"/>
            <a:chExt cx="3677920" cy="536101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4D1D78BC-D718-7390-B172-A18CD6F1B404}"/>
                </a:ext>
              </a:extLst>
            </p:cNvPr>
            <p:cNvSpPr txBox="1"/>
            <p:nvPr/>
          </p:nvSpPr>
          <p:spPr>
            <a:xfrm>
              <a:off x="9414911" y="5329403"/>
              <a:ext cx="483379" cy="750482"/>
            </a:xfrm>
            <a:prstGeom prst="rect">
              <a:avLst/>
            </a:prstGeom>
            <a:gradFill>
              <a:gsLst>
                <a:gs pos="0">
                  <a:srgbClr val="013C67"/>
                </a:gs>
                <a:gs pos="100000">
                  <a:srgbClr val="013B66"/>
                </a:gs>
              </a:gsLst>
              <a:lin ang="5400000" scaled="1"/>
            </a:gradFill>
          </p:spPr>
          <p:txBody>
            <a:bodyPr wrap="square" rtlCol="0">
              <a:spAutoFit/>
            </a:bodyPr>
            <a:lstStyle/>
            <a:p>
              <a:endParaRPr lang="en-US" i="0" err="1">
                <a:solidFill>
                  <a:schemeClr val="tx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3B5B3FB9-D982-976D-1E83-0035CFB399B2}"/>
                </a:ext>
              </a:extLst>
            </p:cNvPr>
            <p:cNvSpPr/>
            <p:nvPr/>
          </p:nvSpPr>
          <p:spPr bwMode="auto">
            <a:xfrm>
              <a:off x="6248400" y="718871"/>
              <a:ext cx="3677920" cy="4442409"/>
            </a:xfrm>
            <a:prstGeom prst="rect">
              <a:avLst/>
            </a:prstGeom>
            <a:gradFill flip="none" rotWithShape="1">
              <a:gsLst>
                <a:gs pos="50000">
                  <a:srgbClr val="024272"/>
                </a:gs>
                <a:gs pos="0">
                  <a:srgbClr val="02487C"/>
                </a:gs>
                <a:gs pos="100000">
                  <a:srgbClr val="013C67"/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1" u="none" strike="noStrike" cap="none" normalizeH="0" baseline="0">
                <a:ln>
                  <a:noFill/>
                </a:ln>
                <a:solidFill>
                  <a:srgbClr val="FFCC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charset="0"/>
                <a:ea typeface="ヒラギノ角ゴ Pro W3" pitchFamily="-111" charset="-128"/>
              </a:endParaRP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0E37A7C0-263F-4D24-BD2E-28934506D645}"/>
              </a:ext>
            </a:extLst>
          </p:cNvPr>
          <p:cNvSpPr txBox="1"/>
          <p:nvPr/>
        </p:nvSpPr>
        <p:spPr>
          <a:xfrm>
            <a:off x="5885609" y="2994111"/>
            <a:ext cx="716572" cy="354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7.8</a:t>
            </a:r>
            <a:r>
              <a:rPr lang="en-US" b="1" i="0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209650916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449C51-254E-3766-D631-A0438B52D6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5E90F22-F17B-0BBF-ABBC-6ABBC06AD640}"/>
              </a:ext>
            </a:extLst>
          </p:cNvPr>
          <p:cNvSpPr txBox="1">
            <a:spLocks/>
          </p:cNvSpPr>
          <p:nvPr/>
        </p:nvSpPr>
        <p:spPr>
          <a:xfrm>
            <a:off x="916516" y="58917"/>
            <a:ext cx="10358967" cy="755651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333" b="1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5pPr>
            <a:lvl6pPr marL="457189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6pPr>
            <a:lvl7pPr marL="914377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7pPr>
            <a:lvl8pPr marL="1371566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8pPr>
            <a:lvl9pPr marL="1828754" algn="ctr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4400" kern="0">
                <a:latin typeface="+mn-lt"/>
                <a:cs typeface="Calibri" panose="020F0502020204030204" pitchFamily="34" charset="0"/>
              </a:rPr>
              <a:t>All-Cause Mortality at 2 Yea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8F8F44A-4C78-F80E-DFA3-26DE8B85CCD2}"/>
              </a:ext>
            </a:extLst>
          </p:cNvPr>
          <p:cNvSpPr txBox="1"/>
          <p:nvPr/>
        </p:nvSpPr>
        <p:spPr>
          <a:xfrm>
            <a:off x="9307037" y="1420810"/>
            <a:ext cx="865718" cy="354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15.4%</a:t>
            </a:r>
            <a:endParaRPr lang="en-US" b="1" i="0"/>
          </a:p>
        </p:txBody>
      </p:sp>
      <p:pic>
        <p:nvPicPr>
          <p:cNvPr id="10" name="Picture 9" descr="A graph on a screen&#10;&#10;Description automatically generated">
            <a:extLst>
              <a:ext uri="{FF2B5EF4-FFF2-40B4-BE49-F238E27FC236}">
                <a16:creationId xmlns:a16="http://schemas.microsoft.com/office/drawing/2014/main" id="{3FB9167C-EDB3-953F-9B7E-387C9968FE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65" t="6187" r="1483" b="11528"/>
          <a:stretch/>
        </p:blipFill>
        <p:spPr>
          <a:xfrm>
            <a:off x="1955822" y="712216"/>
            <a:ext cx="8117243" cy="47268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386792AB-6432-58ED-C647-6210773092C2}"/>
              </a:ext>
            </a:extLst>
          </p:cNvPr>
          <p:cNvSpPr txBox="1"/>
          <p:nvPr/>
        </p:nvSpPr>
        <p:spPr>
          <a:xfrm rot="16200000">
            <a:off x="-16150" y="2837503"/>
            <a:ext cx="31762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i="0">
                <a:solidFill>
                  <a:srgbClr val="FFC000"/>
                </a:solidFill>
              </a:rPr>
              <a:t>All Cause Mortality 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4EFF72C-0215-EBFD-8E4E-0B17F15CD177}"/>
              </a:ext>
            </a:extLst>
          </p:cNvPr>
          <p:cNvSpPr txBox="1"/>
          <p:nvPr/>
        </p:nvSpPr>
        <p:spPr>
          <a:xfrm>
            <a:off x="822389" y="5485673"/>
            <a:ext cx="1499128" cy="2950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FFC000"/>
                </a:solidFill>
              </a:rPr>
              <a:t>Number at Risk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BDFA0B4-D89F-7211-90D7-DD00DA185BD1}"/>
              </a:ext>
            </a:extLst>
          </p:cNvPr>
          <p:cNvSpPr txBox="1"/>
          <p:nvPr/>
        </p:nvSpPr>
        <p:spPr>
          <a:xfrm>
            <a:off x="604380" y="5753505"/>
            <a:ext cx="1717137" cy="2950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0">
                <a:solidFill>
                  <a:srgbClr val="FFC000"/>
                </a:solidFill>
              </a:rPr>
              <a:t>Number of Even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343E64-A2FB-A154-C862-19AAEE815772}"/>
              </a:ext>
            </a:extLst>
          </p:cNvPr>
          <p:cNvSpPr txBox="1"/>
          <p:nvPr/>
        </p:nvSpPr>
        <p:spPr>
          <a:xfrm>
            <a:off x="2418395" y="5509756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8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8833842-EA86-E499-D554-BA5776E7524E}"/>
              </a:ext>
            </a:extLst>
          </p:cNvPr>
          <p:cNvSpPr txBox="1"/>
          <p:nvPr/>
        </p:nvSpPr>
        <p:spPr>
          <a:xfrm>
            <a:off x="2834745" y="5509756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76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1426340-A8E8-7B80-45FA-315A020FEE4B}"/>
              </a:ext>
            </a:extLst>
          </p:cNvPr>
          <p:cNvSpPr txBox="1"/>
          <p:nvPr/>
        </p:nvSpPr>
        <p:spPr>
          <a:xfrm>
            <a:off x="6099965" y="5514544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6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41C873-F468-1245-4058-6F5253BF3831}"/>
              </a:ext>
            </a:extLst>
          </p:cNvPr>
          <p:cNvSpPr txBox="1"/>
          <p:nvPr/>
        </p:nvSpPr>
        <p:spPr>
          <a:xfrm>
            <a:off x="9603191" y="5482128"/>
            <a:ext cx="4901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0">
                <a:solidFill>
                  <a:schemeClr val="tx1"/>
                </a:solidFill>
              </a:rPr>
              <a:t>11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077DF72-F6E8-8C6A-179F-3C04D8968773}"/>
              </a:ext>
            </a:extLst>
          </p:cNvPr>
          <p:cNvSpPr txBox="1"/>
          <p:nvPr/>
        </p:nvSpPr>
        <p:spPr>
          <a:xfrm>
            <a:off x="2390115" y="5767394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6F746B2-7C11-F447-9C2B-217B8D7EAC64}"/>
              </a:ext>
            </a:extLst>
          </p:cNvPr>
          <p:cNvSpPr txBox="1"/>
          <p:nvPr/>
        </p:nvSpPr>
        <p:spPr>
          <a:xfrm>
            <a:off x="2806465" y="5780676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8B7636E-B430-7C89-23B1-03A066CDFAC5}"/>
              </a:ext>
            </a:extLst>
          </p:cNvPr>
          <p:cNvSpPr txBox="1"/>
          <p:nvPr/>
        </p:nvSpPr>
        <p:spPr>
          <a:xfrm>
            <a:off x="6071685" y="5767394"/>
            <a:ext cx="490194" cy="295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14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0F7D69D-939B-6786-7898-B91AF45A85E4}"/>
              </a:ext>
            </a:extLst>
          </p:cNvPr>
          <p:cNvSpPr txBox="1"/>
          <p:nvPr/>
        </p:nvSpPr>
        <p:spPr>
          <a:xfrm>
            <a:off x="9596376" y="5754666"/>
            <a:ext cx="4901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0">
                <a:solidFill>
                  <a:schemeClr val="tx1"/>
                </a:solidFill>
              </a:rPr>
              <a:t>27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8A0DC-6ACE-14B6-AE06-0BAD6545AE11}"/>
              </a:ext>
            </a:extLst>
          </p:cNvPr>
          <p:cNvSpPr txBox="1"/>
          <p:nvPr/>
        </p:nvSpPr>
        <p:spPr>
          <a:xfrm>
            <a:off x="2791293" y="3997179"/>
            <a:ext cx="716572" cy="354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i="0"/>
              <a:t>2.2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CE4B7D4-00AF-DD3C-0077-2006F7689615}"/>
              </a:ext>
            </a:extLst>
          </p:cNvPr>
          <p:cNvSpPr txBox="1"/>
          <p:nvPr/>
        </p:nvSpPr>
        <p:spPr>
          <a:xfrm>
            <a:off x="5885609" y="2994111"/>
            <a:ext cx="716572" cy="354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/>
              <a:t>7.8</a:t>
            </a:r>
            <a:r>
              <a:rPr lang="en-US" b="1" i="0"/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2340525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:wipe dir="r"/>
      </p:transition>
    </mc:Choice>
    <mc:Fallback xmlns="">
      <p:transition spd="slow">
        <p:wipe dir="r"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E_yNK5pUagFeWCknvm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obvpbgHESsGCIu6pqyDQ"/>
</p:tagLst>
</file>

<file path=ppt/theme/theme1.xml><?xml version="1.0" encoding="utf-8"?>
<a:theme xmlns:a="http://schemas.openxmlformats.org/drawingml/2006/main" name="1_CRF_2006_background">
  <a:themeElements>
    <a:clrScheme name="Custom 39">
      <a:dk1>
        <a:srgbClr val="000000"/>
      </a:dk1>
      <a:lt1>
        <a:srgbClr val="FFFFFF"/>
      </a:lt1>
      <a:dk2>
        <a:srgbClr val="1D384C"/>
      </a:dk2>
      <a:lt2>
        <a:srgbClr val="FEB91A"/>
      </a:lt2>
      <a:accent1>
        <a:srgbClr val="ED2937"/>
      </a:accent1>
      <a:accent2>
        <a:srgbClr val="6699FF"/>
      </a:accent2>
      <a:accent3>
        <a:srgbClr val="9A9A9C"/>
      </a:accent3>
      <a:accent4>
        <a:srgbClr val="DADADA"/>
      </a:accent4>
      <a:accent5>
        <a:srgbClr val="FFADAA"/>
      </a:accent5>
      <a:accent6>
        <a:srgbClr val="5C8AE7"/>
      </a:accent6>
      <a:hlink>
        <a:srgbClr val="FFCC00"/>
      </a:hlink>
      <a:folHlink>
        <a:srgbClr val="969696"/>
      </a:folHlink>
    </a:clrScheme>
    <a:fontScheme name="CRF_2006_backgrou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i="0"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CRF_2006_backgroun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RF_2006_backgroun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8">
        <a:dk1>
          <a:srgbClr val="000000"/>
        </a:dk1>
        <a:lt1>
          <a:srgbClr val="FFFFFF"/>
        </a:lt1>
        <a:dk2>
          <a:srgbClr val="002E4B"/>
        </a:dk2>
        <a:lt2>
          <a:srgbClr val="FDE25E"/>
        </a:lt2>
        <a:accent1>
          <a:srgbClr val="FF3300"/>
        </a:accent1>
        <a:accent2>
          <a:srgbClr val="3333FF"/>
        </a:accent2>
        <a:accent3>
          <a:srgbClr val="AAADB1"/>
        </a:accent3>
        <a:accent4>
          <a:srgbClr val="DADADA"/>
        </a:accent4>
        <a:accent5>
          <a:srgbClr val="FFADAA"/>
        </a:accent5>
        <a:accent6>
          <a:srgbClr val="2D2DE7"/>
        </a:accent6>
        <a:hlink>
          <a:srgbClr val="FFCC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EA9135C33BA934CB99AB16D2E3554BF" ma:contentTypeVersion="15" ma:contentTypeDescription="Create a new document." ma:contentTypeScope="" ma:versionID="b4563a7ce6e15fa7b11b9a77918d60b2">
  <xsd:schema xmlns:xsd="http://www.w3.org/2001/XMLSchema" xmlns:xs="http://www.w3.org/2001/XMLSchema" xmlns:p="http://schemas.microsoft.com/office/2006/metadata/properties" xmlns:ns2="21c7ca72-f6d5-4b0e-8803-9d163f0b428e" xmlns:ns3="be269bf9-969f-4947-ab6e-df6fb505fba0" targetNamespace="http://schemas.microsoft.com/office/2006/metadata/properties" ma:root="true" ma:fieldsID="675ff18d9569da560d02070ba9f43a70" ns2:_="" ns3:_="">
    <xsd:import namespace="21c7ca72-f6d5-4b0e-8803-9d163f0b428e"/>
    <xsd:import namespace="be269bf9-969f-4947-ab6e-df6fb505fba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c7ca72-f6d5-4b0e-8803-9d163f0b42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5" nillable="true" ma:displayName="Location" ma:description="" ma:indexed="true" ma:internalName="MediaServiceLocation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002aa8f4-6248-4f21-b1f2-4bc7e3121a5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269bf9-969f-4947-ab6e-df6fb505fba0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23b14854-5f3a-4f2b-99ef-e5e8fae53c4e}" ma:internalName="TaxCatchAll" ma:showField="CatchAllData" ma:web="be269bf9-969f-4947-ab6e-df6fb505fba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be269bf9-969f-4947-ab6e-df6fb505fba0" xsi:nil="true"/>
    <lcf76f155ced4ddcb4097134ff3c332f xmlns="21c7ca72-f6d5-4b0e-8803-9d163f0b428e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2AD7AFA-75CB-49A0-9405-8AD042ED396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7D6E49-E453-47D9-A01B-38B33F44BE25}"/>
</file>

<file path=customXml/itemProps3.xml><?xml version="1.0" encoding="utf-8"?>
<ds:datastoreItem xmlns:ds="http://schemas.openxmlformats.org/officeDocument/2006/customXml" ds:itemID="{B2A54EEA-092C-4CAA-9596-E35AABABE538}">
  <ds:schemaRefs>
    <ds:schemaRef ds:uri="374b4322-5365-4d53-b255-2f671a3704c0"/>
    <ds:schemaRef ds:uri="9708b885-a09f-4e6f-a4c8-750364115d72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9</TotalTime>
  <Words>667</Words>
  <Application>Microsoft Macintosh PowerPoint</Application>
  <PresentationFormat>Widescreen</PresentationFormat>
  <Paragraphs>159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6" baseType="lpstr">
      <vt:lpstr>Aptos</vt:lpstr>
      <vt:lpstr>Arial</vt:lpstr>
      <vt:lpstr>Calibri</vt:lpstr>
      <vt:lpstr>Calibri Light</vt:lpstr>
      <vt:lpstr>Helvetica</vt:lpstr>
      <vt:lpstr>Lub Dub Heavy</vt:lpstr>
      <vt:lpstr>Lub Dub Medium</vt:lpstr>
      <vt:lpstr>Wingdings 2</vt:lpstr>
      <vt:lpstr>ヒラギノ角ゴ Pro W3</vt:lpstr>
      <vt:lpstr>1_CRF_2006_background</vt:lpstr>
      <vt:lpstr>think-cell Slide</vt:lpstr>
      <vt:lpstr>PowerPoint Presentation</vt:lpstr>
      <vt:lpstr>PowerPoint Presentation</vt:lpstr>
      <vt:lpstr>Purpose</vt:lpstr>
      <vt:lpstr>Trilogy Porcine Pericardial Valve</vt:lpstr>
      <vt:lpstr>ALIGN AR Study Design</vt:lpstr>
      <vt:lpstr>Consort Diagr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Hemodynamic Valve Performance </vt:lpstr>
      <vt:lpstr>Paravalvular Regurgitation</vt:lpstr>
      <vt:lpstr>NYHA Functional Class</vt:lpstr>
      <vt:lpstr>The ALIGN AR Trial: 2 Year Follow-up Conclus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nto, Duane (HMFP - Cardiology)</dc:creator>
  <cp:lastModifiedBy>Vahl, Torsten P.</cp:lastModifiedBy>
  <cp:revision>12</cp:revision>
  <dcterms:created xsi:type="dcterms:W3CDTF">2023-07-07T19:34:34Z</dcterms:created>
  <dcterms:modified xsi:type="dcterms:W3CDTF">2024-10-29T00:4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A9135C33BA934CB99AB16D2E3554BF</vt:lpwstr>
  </property>
</Properties>
</file>